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3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4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slideLayouts/slideLayout13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5" r:id="rId1"/>
    <p:sldMasterId id="2147483867" r:id="rId2"/>
    <p:sldMasterId id="2147483899" r:id="rId3"/>
    <p:sldMasterId id="2147483931" r:id="rId4"/>
    <p:sldMasterId id="2147483803" r:id="rId5"/>
    <p:sldMasterId id="2147483967" r:id="rId6"/>
  </p:sldMasterIdLst>
  <p:notesMasterIdLst>
    <p:notesMasterId r:id="rId17"/>
  </p:notesMasterIdLst>
  <p:handoutMasterIdLst>
    <p:handoutMasterId r:id="rId18"/>
  </p:handoutMasterIdLst>
  <p:sldIdLst>
    <p:sldId id="4301" r:id="rId7"/>
    <p:sldId id="4525" r:id="rId8"/>
    <p:sldId id="4266" r:id="rId9"/>
    <p:sldId id="4545" r:id="rId10"/>
    <p:sldId id="4546" r:id="rId11"/>
    <p:sldId id="4549" r:id="rId12"/>
    <p:sldId id="4543" r:id="rId13"/>
    <p:sldId id="4322" r:id="rId14"/>
    <p:sldId id="4542" r:id="rId15"/>
    <p:sldId id="4627" r:id="rId1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050" userDrawn="1">
          <p15:clr>
            <a:srgbClr val="A4A3A4"/>
          </p15:clr>
        </p15:guide>
        <p15:guide id="2" orient="horz" pos="21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57E01E-E007-F1D3-D147-EF22E695EBF1}" name="Yuliana Mikhailovna Maksimova" initials="YM" userId="S::y.maksimova@gsom.spbu.ru::b68e0c0b-7447-4c74-9307-d12da6bd32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CEF"/>
    <a:srgbClr val="51626F"/>
    <a:srgbClr val="90A1AE"/>
    <a:srgbClr val="006E36"/>
    <a:srgbClr val="D4D4D4"/>
    <a:srgbClr val="E7E7E7"/>
    <a:srgbClr val="FEFAFA"/>
    <a:srgbClr val="F0F2F4"/>
    <a:srgbClr val="B6C0C6"/>
    <a:srgbClr val="FE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63"/>
    <p:restoredTop sz="93741" autoAdjust="0"/>
  </p:normalViewPr>
  <p:slideViewPr>
    <p:cSldViewPr snapToGrid="0">
      <p:cViewPr varScale="1">
        <p:scale>
          <a:sx n="66" d="100"/>
          <a:sy n="66" d="100"/>
        </p:scale>
        <p:origin x="904" y="44"/>
      </p:cViewPr>
      <p:guideLst>
        <p:guide pos="1050"/>
        <p:guide orient="horz" pos="21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034DC23-A4FB-4685-9A83-C81E660475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BE3914-4ED7-4DED-AA0B-F1540FC457E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AF2DEC-3B42-4300-93E6-D08C54F702B9}" type="datetimeFigureOut">
              <a:rPr lang="ru-RU" smtClean="0"/>
              <a:t>08.02.2024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3DF3AA-BC44-4779-ABC6-37874AA771D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FD24E7-72E0-4B67-9858-BBE717FBEB7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A37E07-54D2-4E13-BC65-A31BC093E5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08531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9FF5ED-06E7-4AAD-8CF9-72E93C4C3EF7}" type="datetimeFigureOut">
              <a:rPr lang="ru-RU" smtClean="0"/>
              <a:t>08.0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5AE58F-56D4-42A9-8054-618EC07F0D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4314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5AE58F-56D4-42A9-8054-618EC07F0D2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57356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5AE58F-56D4-42A9-8054-618EC07F0D20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34849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5AE58F-56D4-42A9-8054-618EC07F0D20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083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5AE58F-56D4-42A9-8054-618EC07F0D2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8186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sv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2.sv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5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12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12.svg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2.sv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2.sv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5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2.sv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2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5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2445A4-9D8F-478E-A168-02E48382C3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3724273"/>
            <a:ext cx="8137645" cy="2620963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4043983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5802484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5503759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424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561" y="2587669"/>
            <a:ext cx="5646399" cy="61555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E305ED-1B42-46C9-AAD3-23868C01716F}"/>
              </a:ext>
            </a:extLst>
          </p:cNvPr>
          <p:cNvSpPr/>
          <p:nvPr userDrawn="1"/>
        </p:nvSpPr>
        <p:spPr>
          <a:xfrm>
            <a:off x="0" y="2694349"/>
            <a:ext cx="438150" cy="2634665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F26E17-2DA5-4B8A-8A62-539DF9DF7346}"/>
              </a:ext>
            </a:extLst>
          </p:cNvPr>
          <p:cNvSpPr/>
          <p:nvPr userDrawn="1"/>
        </p:nvSpPr>
        <p:spPr>
          <a:xfrm>
            <a:off x="0" y="0"/>
            <a:ext cx="12192000" cy="72000"/>
          </a:xfrm>
          <a:prstGeom prst="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22" descr="A picture containing table&#10;&#10;Description automatically generated">
            <a:extLst>
              <a:ext uri="{FF2B5EF4-FFF2-40B4-BE49-F238E27FC236}">
                <a16:creationId xmlns:a16="http://schemas.microsoft.com/office/drawing/2014/main" id="{8B25C531-708C-4945-8B83-E756EE6EDF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8753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70742"/>
            <a:ext cx="12192000" cy="457449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7F340F0-E409-49B7-9AC5-F5257A7DCA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769331"/>
            <a:ext cx="12191997" cy="457590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3042500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480100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4502276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pic>
        <p:nvPicPr>
          <p:cNvPr id="7" name="Рисунок 10">
            <a:extLst>
              <a:ext uri="{FF2B5EF4-FFF2-40B4-BE49-F238E27FC236}">
                <a16:creationId xmlns:a16="http://schemas.microsoft.com/office/drawing/2014/main" id="{3B5A1B1D-A36C-4A54-973F-B661536641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6F0381E-3A97-48F7-BC89-D64B4BE07B0C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BB22877D-252A-49DE-A303-868FB02F3A5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89584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ал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021DBFA-2785-476F-BB4E-D29C3F5F83B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1341120"/>
            <a:ext cx="5646399" cy="1046633"/>
          </a:xfrm>
        </p:spPr>
        <p:txBody>
          <a:bodyPr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sz="3200" cap="all" baseline="0"/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pic>
        <p:nvPicPr>
          <p:cNvPr id="8" name="Рисунок 10">
            <a:extLst>
              <a:ext uri="{FF2B5EF4-FFF2-40B4-BE49-F238E27FC236}">
                <a16:creationId xmlns:a16="http://schemas.microsoft.com/office/drawing/2014/main" id="{BE2EF9DA-3A26-47F5-B74C-E4E8C6217A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1" name="Прямая соединительная линия 30">
            <a:extLst>
              <a:ext uri="{FF2B5EF4-FFF2-40B4-BE49-F238E27FC236}">
                <a16:creationId xmlns:a16="http://schemas.microsoft.com/office/drawing/2014/main" id="{917BE271-46E7-4DBA-A0CD-B80420923A7E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10FB9F3-ACA6-4B34-BBFF-8D6A1FBCD5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D750032-1C33-4722-ABFA-3C055341AB6A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547B7F6-6E96-4A23-8581-83E0150DE0B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39754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ало текста с фотографией на прозрачном фоне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561" y="3226252"/>
            <a:ext cx="5646399" cy="101566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2719750"/>
            <a:ext cx="5646399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800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050BB05-5048-49ED-8299-2B4E13DC7B05}"/>
              </a:ext>
            </a:extLst>
          </p:cNvPr>
          <p:cNvSpPr/>
          <p:nvPr userDrawn="1"/>
        </p:nvSpPr>
        <p:spPr>
          <a:xfrm>
            <a:off x="6854701" y="0"/>
            <a:ext cx="4953000" cy="6858000"/>
          </a:xfrm>
          <a:prstGeom prst="parallelogram">
            <a:avLst>
              <a:gd name="adj" fmla="val 33016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893646B-1B1A-4AF3-96AC-431E4DC9FC8C}"/>
              </a:ext>
            </a:extLst>
          </p:cNvPr>
          <p:cNvSpPr/>
          <p:nvPr userDrawn="1"/>
        </p:nvSpPr>
        <p:spPr>
          <a:xfrm rot="10800000">
            <a:off x="6679888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4B0E331-9DE8-4CDE-8EC8-AE3BDF142FB1}"/>
              </a:ext>
            </a:extLst>
          </p:cNvPr>
          <p:cNvSpPr/>
          <p:nvPr userDrawn="1"/>
        </p:nvSpPr>
        <p:spPr>
          <a:xfrm rot="10800000">
            <a:off x="9436100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accent1">
                  <a:alpha val="40000"/>
                </a:schemeClr>
              </a:gs>
              <a:gs pos="83000">
                <a:schemeClr val="accent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26D9F0BC-F3EF-40D6-ACE3-04CB7CE323AC}"/>
              </a:ext>
            </a:extLst>
          </p:cNvPr>
          <p:cNvSpPr/>
          <p:nvPr userDrawn="1"/>
        </p:nvSpPr>
        <p:spPr>
          <a:xfrm rot="10800000">
            <a:off x="9795973" y="0"/>
            <a:ext cx="2371601" cy="4253049"/>
          </a:xfrm>
          <a:prstGeom prst="parallelogram">
            <a:avLst>
              <a:gd name="adj" fmla="val 43069"/>
            </a:avLst>
          </a:prstGeom>
          <a:gradFill>
            <a:gsLst>
              <a:gs pos="0">
                <a:schemeClr val="accent1">
                  <a:alpha val="20000"/>
                </a:schemeClr>
              </a:gs>
              <a:gs pos="63000">
                <a:schemeClr val="accent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E305ED-1B42-46C9-AAD3-23868C01716F}"/>
              </a:ext>
            </a:extLst>
          </p:cNvPr>
          <p:cNvSpPr/>
          <p:nvPr userDrawn="1"/>
        </p:nvSpPr>
        <p:spPr>
          <a:xfrm>
            <a:off x="0" y="2694349"/>
            <a:ext cx="438150" cy="2634665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175C1BAA-F52A-4AC4-B31E-9E2FE68196FB}"/>
              </a:ext>
            </a:extLst>
          </p:cNvPr>
          <p:cNvSpPr/>
          <p:nvPr userDrawn="1"/>
        </p:nvSpPr>
        <p:spPr>
          <a:xfrm>
            <a:off x="9839803" y="2604951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F26E17-2DA5-4B8A-8A62-539DF9DF7346}"/>
              </a:ext>
            </a:extLst>
          </p:cNvPr>
          <p:cNvSpPr/>
          <p:nvPr userDrawn="1"/>
        </p:nvSpPr>
        <p:spPr>
          <a:xfrm>
            <a:off x="0" y="0"/>
            <a:ext cx="12192000" cy="72000"/>
          </a:xfrm>
          <a:prstGeom prst="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E70B1A3-E8AD-4745-B504-CF22EE6FB2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231566"/>
            <a:ext cx="5646399" cy="5787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4800"/>
              </a:lnSpc>
              <a:buNone/>
              <a:defRPr lang="en-US" sz="3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В две или три строки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BFE6F6F-2C5A-4EBD-94D9-A848AD5BB7A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48960" y="433951"/>
            <a:ext cx="4550840" cy="6424049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8FB3386-438F-4586-9B4C-D202D909F4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9137" y="495215"/>
            <a:ext cx="1567363" cy="47702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873D3B3-185C-4E02-A8C5-6D74EDB79CCA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7D7C98DA-0851-4FFB-934E-FC3DEECF955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8752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11941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4CE01FE9-9E94-4FEA-85AF-35135FE435B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7AF905-B7C7-4149-AB01-2B5A4925C2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2890391"/>
            <a:ext cx="5646399" cy="1077218"/>
          </a:xfrm>
        </p:spPr>
        <p:txBody>
          <a:bodyPr anchor="ctr"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lang="ru-RU" sz="40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pic>
        <p:nvPicPr>
          <p:cNvPr id="19" name="Рисунок 10">
            <a:extLst>
              <a:ext uri="{FF2B5EF4-FFF2-40B4-BE49-F238E27FC236}">
                <a16:creationId xmlns:a16="http://schemas.microsoft.com/office/drawing/2014/main" id="{79AFE90B-8D37-4666-8E5A-76CE3F4EBB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260D6C9-B406-4BBA-9EC3-81D39D754120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28357E2-2351-4DE5-91C0-D5AE1CF26A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08634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icture containing table&#10;&#10;Description automatically generated">
            <a:extLst>
              <a:ext uri="{FF2B5EF4-FFF2-40B4-BE49-F238E27FC236}">
                <a16:creationId xmlns:a16="http://schemas.microsoft.com/office/drawing/2014/main" id="{CB1BA33C-C1F7-40A7-AEF5-CF9FB62DCD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22" name="Прямоугольник 2">
            <a:extLst>
              <a:ext uri="{FF2B5EF4-FFF2-40B4-BE49-F238E27FC236}">
                <a16:creationId xmlns:a16="http://schemas.microsoft.com/office/drawing/2014/main" id="{C8636BB8-0E4C-41F4-8743-4970E70B13A8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2D10374-6A79-4F0D-8864-2A0B42245C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10" name="Рамка 29">
            <a:extLst>
              <a:ext uri="{FF2B5EF4-FFF2-40B4-BE49-F238E27FC236}">
                <a16:creationId xmlns:a16="http://schemas.microsoft.com/office/drawing/2014/main" id="{F3866D87-E695-4F59-A63B-A269D94BB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2" name="Прямая соединительная линия 30">
            <a:extLst>
              <a:ext uri="{FF2B5EF4-FFF2-40B4-BE49-F238E27FC236}">
                <a16:creationId xmlns:a16="http://schemas.microsoft.com/office/drawing/2014/main" id="{498A6940-DBC4-46E6-B215-61E80287D227}"/>
              </a:ext>
            </a:extLst>
          </p:cNvPr>
          <p:cNvCxnSpPr>
            <a:cxnSpLocks/>
          </p:cNvCxnSpPr>
          <p:nvPr userDrawn="1"/>
        </p:nvCxnSpPr>
        <p:spPr>
          <a:xfrm>
            <a:off x="914400" y="137160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0">
            <a:extLst>
              <a:ext uri="{FF2B5EF4-FFF2-40B4-BE49-F238E27FC236}">
                <a16:creationId xmlns:a16="http://schemas.microsoft.com/office/drawing/2014/main" id="{A66DFED0-8284-42B7-9E23-C6C4D75747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8" y="2589454"/>
            <a:ext cx="5003982" cy="1046633"/>
          </a:xfrm>
        </p:spPr>
        <p:txBody>
          <a:bodyPr wrap="square" anchor="ctr"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sz="3200" cap="all" baseline="0"/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4961393"/>
            <a:ext cx="52598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2000" kern="1200" cap="all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10FB9F3-ACA6-4B34-BBFF-8D6A1FBCD5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5310641"/>
            <a:ext cx="5259821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400" kern="1200" dirty="0" smtClean="0">
                <a:solidFill>
                  <a:schemeClr val="bg2"/>
                </a:solidFill>
                <a:latin typeface="+mn-lt"/>
                <a:ea typeface="Euclid Circular A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622419E-C953-485E-9FEC-00B1B4F4D9E6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19AE8708-EEED-41A3-B8ED-2E3AA85757E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86779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без изображ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table&#10;&#10;Description automatically generated">
            <a:extLst>
              <a:ext uri="{FF2B5EF4-FFF2-40B4-BE49-F238E27FC236}">
                <a16:creationId xmlns:a16="http://schemas.microsoft.com/office/drawing/2014/main" id="{DB8F0A0E-4A01-4BC2-95D8-CC6D77F1A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18" name="Прямоугольник 2">
            <a:extLst>
              <a:ext uri="{FF2B5EF4-FFF2-40B4-BE49-F238E27FC236}">
                <a16:creationId xmlns:a16="http://schemas.microsoft.com/office/drawing/2014/main" id="{A165DB1E-F99F-4F5E-B9CF-BEE49A7D5268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8B40DDC-AF21-425F-9985-2CAA06499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4" name="Рамка 29">
            <a:extLst>
              <a:ext uri="{FF2B5EF4-FFF2-40B4-BE49-F238E27FC236}">
                <a16:creationId xmlns:a16="http://schemas.microsoft.com/office/drawing/2014/main" id="{0834A1E9-DEA2-4810-98C1-4864B91A12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30">
            <a:extLst>
              <a:ext uri="{FF2B5EF4-FFF2-40B4-BE49-F238E27FC236}">
                <a16:creationId xmlns:a16="http://schemas.microsoft.com/office/drawing/2014/main" id="{F132133A-891C-4552-A97F-33204B2F7CB0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D79935-82BE-423B-BC88-EC03A5F2D4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6466" y="1341120"/>
            <a:ext cx="50570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AB0D41-54FA-455A-B04F-360320D6BD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6466" y="1833563"/>
            <a:ext cx="50570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6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20C9937-63C3-4E89-8622-8FB346561E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Название мероприятия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5D5843-46DE-4D8B-BA27-CEC322CDA7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pic>
        <p:nvPicPr>
          <p:cNvPr id="10" name="Рисунок 10">
            <a:extLst>
              <a:ext uri="{FF2B5EF4-FFF2-40B4-BE49-F238E27FC236}">
                <a16:creationId xmlns:a16="http://schemas.microsoft.com/office/drawing/2014/main" id="{E4BD07E8-5E75-496A-B44A-622EF3EA77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695936-F81D-4307-A99D-B29477736C00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043DB84-7F83-4797-AEEB-A8A131546F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8847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с фото спике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амка 29">
            <a:extLst>
              <a:ext uri="{FF2B5EF4-FFF2-40B4-BE49-F238E27FC236}">
                <a16:creationId xmlns:a16="http://schemas.microsoft.com/office/drawing/2014/main" id="{0834A1E9-DEA2-4810-98C1-4864B91A12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30">
            <a:extLst>
              <a:ext uri="{FF2B5EF4-FFF2-40B4-BE49-F238E27FC236}">
                <a16:creationId xmlns:a16="http://schemas.microsoft.com/office/drawing/2014/main" id="{F132133A-891C-4552-A97F-33204B2F7CB0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D79935-82BE-423B-BC88-EC03A5F2D4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6466" y="1341120"/>
            <a:ext cx="50570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AB0D41-54FA-455A-B04F-360320D6BD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6466" y="1833563"/>
            <a:ext cx="50570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6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20C9937-63C3-4E89-8622-8FB346561E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Название мероприятия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5D5843-46DE-4D8B-BA27-CEC322CDA7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F40A111E-33E1-44D3-8428-8D9283B2337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48960" y="433951"/>
            <a:ext cx="4550840" cy="6424049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pic>
        <p:nvPicPr>
          <p:cNvPr id="13" name="Рисунок 10">
            <a:extLst>
              <a:ext uri="{FF2B5EF4-FFF2-40B4-BE49-F238E27FC236}">
                <a16:creationId xmlns:a16="http://schemas.microsoft.com/office/drawing/2014/main" id="{9BBD9097-5ECA-4B21-8F30-BFE9F09B9C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3CFDCE0-2466-4487-9C1B-CE8ABA894EAF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BF0D5D80-AFE5-4D38-AC0D-23EE6514D7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45406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561" y="2587669"/>
            <a:ext cx="5646399" cy="61555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E305ED-1B42-46C9-AAD3-23868C01716F}"/>
              </a:ext>
            </a:extLst>
          </p:cNvPr>
          <p:cNvSpPr/>
          <p:nvPr userDrawn="1"/>
        </p:nvSpPr>
        <p:spPr>
          <a:xfrm>
            <a:off x="0" y="2694349"/>
            <a:ext cx="438150" cy="2634665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F26E17-2DA5-4B8A-8A62-539DF9DF7346}"/>
              </a:ext>
            </a:extLst>
          </p:cNvPr>
          <p:cNvSpPr/>
          <p:nvPr userDrawn="1"/>
        </p:nvSpPr>
        <p:spPr>
          <a:xfrm>
            <a:off x="0" y="0"/>
            <a:ext cx="12192000" cy="72000"/>
          </a:xfrm>
          <a:prstGeom prst="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22" descr="A picture containing table&#10;&#10;Description automatically generated">
            <a:extLst>
              <a:ext uri="{FF2B5EF4-FFF2-40B4-BE49-F238E27FC236}">
                <a16:creationId xmlns:a16="http://schemas.microsoft.com/office/drawing/2014/main" id="{8B25C531-708C-4945-8B83-E756EE6EDF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89468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трочка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4115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 строчки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290209"/>
            <a:ext cx="8431847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57FCC7-863C-407B-9FB0-9545797528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813" y="617855"/>
            <a:ext cx="84318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US" sz="2400" cap="all" baseline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marL="228600" lvl="0" indent="-228600">
              <a:spcBef>
                <a:spcPct val="0"/>
              </a:spcBef>
            </a:pPr>
            <a:r>
              <a:rPr lang="ru-RU"/>
              <a:t>Вторая строч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796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трочка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9145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0" y="4101930"/>
            <a:ext cx="4659242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35727" y="4101930"/>
            <a:ext cx="4659242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1177853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8534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88F2BDCB-B8D5-46C5-B498-B34DD65BC9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7149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245200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1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71654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88F2BDCB-B8D5-46C5-B498-B34DD65BC9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52929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BD68CF29-070B-4282-BF53-C3A10620C79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30413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4043693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pic>
        <p:nvPicPr>
          <p:cNvPr id="6" name="Picture 16" descr="A screenshot of a flat screen television&#10;&#10;Description automatically generated">
            <a:extLst>
              <a:ext uri="{FF2B5EF4-FFF2-40B4-BE49-F238E27FC236}">
                <a16:creationId xmlns:a16="http://schemas.microsoft.com/office/drawing/2014/main" id="{468BE97C-7BE9-4254-ADB9-BBADE1E30B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00111" y="1179094"/>
            <a:ext cx="9550185" cy="5639383"/>
          </a:xfrm>
          <a:prstGeom prst="rect">
            <a:avLst/>
          </a:prstGeom>
        </p:spPr>
      </p:pic>
      <p:sp>
        <p:nvSpPr>
          <p:cNvPr id="8" name="Рисунок 3">
            <a:extLst>
              <a:ext uri="{FF2B5EF4-FFF2-40B4-BE49-F238E27FC236}">
                <a16:creationId xmlns:a16="http://schemas.microsoft.com/office/drawing/2014/main" id="{D4E40A85-C800-414C-BEE1-B578D5514C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14913" y="1516856"/>
            <a:ext cx="6238875" cy="381952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4266812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22">
            <a:extLst>
              <a:ext uri="{FF2B5EF4-FFF2-40B4-BE49-F238E27FC236}">
                <a16:creationId xmlns:a16="http://schemas.microsoft.com/office/drawing/2014/main" id="{C784C029-6C93-413D-8699-4362434FDC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l="34033" t="15463" r="28889" b="14498"/>
          <a:stretch/>
        </p:blipFill>
        <p:spPr>
          <a:xfrm>
            <a:off x="8442477" y="1060171"/>
            <a:ext cx="2918577" cy="5513074"/>
          </a:xfrm>
          <a:prstGeom prst="rect">
            <a:avLst/>
          </a:prstGeom>
          <a:noFill/>
          <a:ln>
            <a:noFill/>
          </a:ln>
          <a:effectLst>
            <a:outerShdw blurRad="342900" dist="114300" dir="2700000" algn="tl" rotWithShape="0">
              <a:srgbClr val="000000">
                <a:alpha val="30980"/>
              </a:srgbClr>
            </a:outerShdw>
          </a:effectLst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1" name="Рисунок 21">
            <a:extLst>
              <a:ext uri="{FF2B5EF4-FFF2-40B4-BE49-F238E27FC236}">
                <a16:creationId xmlns:a16="http://schemas.microsoft.com/office/drawing/2014/main" id="{D48C7C90-CD98-4D00-8F58-3DFE15D1F7E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20589" y="1435154"/>
            <a:ext cx="2200456" cy="4779909"/>
          </a:xfrm>
          <a:custGeom>
            <a:avLst/>
            <a:gdLst>
              <a:gd name="connsiteX0" fmla="*/ 394614 w 1920529"/>
              <a:gd name="connsiteY0" fmla="*/ 295 h 4171841"/>
              <a:gd name="connsiteX1" fmla="*/ 433387 w 1920529"/>
              <a:gd name="connsiteY1" fmla="*/ 32559 h 4171841"/>
              <a:gd name="connsiteX2" fmla="*/ 439896 w 1920529"/>
              <a:gd name="connsiteY2" fmla="*/ 66237 h 4171841"/>
              <a:gd name="connsiteX3" fmla="*/ 496498 w 1920529"/>
              <a:gd name="connsiteY3" fmla="*/ 136991 h 4171841"/>
              <a:gd name="connsiteX4" fmla="*/ 622911 w 1920529"/>
              <a:gd name="connsiteY4" fmla="*/ 165009 h 4171841"/>
              <a:gd name="connsiteX5" fmla="*/ 1301480 w 1920529"/>
              <a:gd name="connsiteY5" fmla="*/ 165009 h 4171841"/>
              <a:gd name="connsiteX6" fmla="*/ 1413082 w 1920529"/>
              <a:gd name="connsiteY6" fmla="*/ 142934 h 4171841"/>
              <a:gd name="connsiteX7" fmla="*/ 1487325 w 1920529"/>
              <a:gd name="connsiteY7" fmla="*/ 46427 h 4171841"/>
              <a:gd name="connsiteX8" fmla="*/ 1541191 w 1920529"/>
              <a:gd name="connsiteY8" fmla="*/ 295 h 4171841"/>
              <a:gd name="connsiteX9" fmla="*/ 1690244 w 1920529"/>
              <a:gd name="connsiteY9" fmla="*/ 484 h 4171841"/>
              <a:gd name="connsiteX10" fmla="*/ 1809864 w 1920529"/>
              <a:gd name="connsiteY10" fmla="*/ 27182 h 4171841"/>
              <a:gd name="connsiteX11" fmla="*/ 1912599 w 1920529"/>
              <a:gd name="connsiteY11" fmla="*/ 180480 h 4171841"/>
              <a:gd name="connsiteX12" fmla="*/ 1920145 w 1920529"/>
              <a:gd name="connsiteY12" fmla="*/ 329062 h 4171841"/>
              <a:gd name="connsiteX13" fmla="*/ 1920428 w 1920529"/>
              <a:gd name="connsiteY13" fmla="*/ 2963247 h 4171841"/>
              <a:gd name="connsiteX14" fmla="*/ 1920334 w 1920529"/>
              <a:gd name="connsiteY14" fmla="*/ 3268147 h 4171841"/>
              <a:gd name="connsiteX15" fmla="*/ 1917409 w 1920529"/>
              <a:gd name="connsiteY15" fmla="*/ 3893887 h 4171841"/>
              <a:gd name="connsiteX16" fmla="*/ 1912881 w 1920529"/>
              <a:gd name="connsiteY16" fmla="*/ 4001431 h 4171841"/>
              <a:gd name="connsiteX17" fmla="*/ 1766092 w 1920529"/>
              <a:gd name="connsiteY17" fmla="*/ 4161993 h 4171841"/>
              <a:gd name="connsiteX18" fmla="*/ 1675246 w 1920529"/>
              <a:gd name="connsiteY18" fmla="*/ 4171427 h 4171841"/>
              <a:gd name="connsiteX19" fmla="*/ 246976 w 1920529"/>
              <a:gd name="connsiteY19" fmla="*/ 4171616 h 4171841"/>
              <a:gd name="connsiteX20" fmla="*/ 125186 w 1920529"/>
              <a:gd name="connsiteY20" fmla="*/ 4153787 h 4171841"/>
              <a:gd name="connsiteX21" fmla="*/ 43867 w 1920529"/>
              <a:gd name="connsiteY21" fmla="*/ 4090297 h 4171841"/>
              <a:gd name="connsiteX22" fmla="*/ 6604 w 1920529"/>
              <a:gd name="connsiteY22" fmla="*/ 3969451 h 4171841"/>
              <a:gd name="connsiteX23" fmla="*/ 0 w 1920529"/>
              <a:gd name="connsiteY23" fmla="*/ 2066664 h 4171841"/>
              <a:gd name="connsiteX24" fmla="*/ 2170 w 1920529"/>
              <a:gd name="connsiteY24" fmla="*/ 2066664 h 4171841"/>
              <a:gd name="connsiteX25" fmla="*/ 2548 w 1920529"/>
              <a:gd name="connsiteY25" fmla="*/ 303685 h 4171841"/>
              <a:gd name="connsiteX26" fmla="*/ 11321 w 1920529"/>
              <a:gd name="connsiteY26" fmla="*/ 171330 h 4171841"/>
              <a:gd name="connsiteX27" fmla="*/ 181695 w 1920529"/>
              <a:gd name="connsiteY27" fmla="*/ 5107 h 4171841"/>
              <a:gd name="connsiteX28" fmla="*/ 252447 w 1920529"/>
              <a:gd name="connsiteY28" fmla="*/ 484 h 4171841"/>
              <a:gd name="connsiteX29" fmla="*/ 394614 w 1920529"/>
              <a:gd name="connsiteY29" fmla="*/ 295 h 4171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920529" h="4171841">
                <a:moveTo>
                  <a:pt x="394614" y="295"/>
                </a:moveTo>
                <a:cubicBezTo>
                  <a:pt x="420934" y="484"/>
                  <a:pt x="428009" y="6805"/>
                  <a:pt x="433387" y="32559"/>
                </a:cubicBezTo>
                <a:cubicBezTo>
                  <a:pt x="435651" y="43786"/>
                  <a:pt x="437538" y="55106"/>
                  <a:pt x="439896" y="66237"/>
                </a:cubicBezTo>
                <a:cubicBezTo>
                  <a:pt x="446972" y="99161"/>
                  <a:pt x="466688" y="121897"/>
                  <a:pt x="496498" y="136991"/>
                </a:cubicBezTo>
                <a:cubicBezTo>
                  <a:pt x="536308" y="157085"/>
                  <a:pt x="579044" y="164820"/>
                  <a:pt x="622911" y="165009"/>
                </a:cubicBezTo>
                <a:cubicBezTo>
                  <a:pt x="849132" y="165574"/>
                  <a:pt x="1075353" y="165480"/>
                  <a:pt x="1301480" y="165009"/>
                </a:cubicBezTo>
                <a:cubicBezTo>
                  <a:pt x="1339782" y="164915"/>
                  <a:pt x="1377233" y="158027"/>
                  <a:pt x="1413082" y="142934"/>
                </a:cubicBezTo>
                <a:cubicBezTo>
                  <a:pt x="1456571" y="124633"/>
                  <a:pt x="1480627" y="92841"/>
                  <a:pt x="1487325" y="46427"/>
                </a:cubicBezTo>
                <a:cubicBezTo>
                  <a:pt x="1493740" y="1994"/>
                  <a:pt x="1496382" y="295"/>
                  <a:pt x="1541191" y="295"/>
                </a:cubicBezTo>
                <a:cubicBezTo>
                  <a:pt x="1590907" y="295"/>
                  <a:pt x="1640529" y="-82"/>
                  <a:pt x="1690244" y="484"/>
                </a:cubicBezTo>
                <a:cubicBezTo>
                  <a:pt x="1731848" y="956"/>
                  <a:pt x="1772696" y="6994"/>
                  <a:pt x="1809864" y="27182"/>
                </a:cubicBezTo>
                <a:cubicBezTo>
                  <a:pt x="1870713" y="60200"/>
                  <a:pt x="1905711" y="111991"/>
                  <a:pt x="1912599" y="180480"/>
                </a:cubicBezTo>
                <a:cubicBezTo>
                  <a:pt x="1917598" y="229724"/>
                  <a:pt x="1920145" y="279534"/>
                  <a:pt x="1920145" y="329062"/>
                </a:cubicBezTo>
                <a:cubicBezTo>
                  <a:pt x="1920523" y="1207155"/>
                  <a:pt x="1920428" y="2085155"/>
                  <a:pt x="1920428" y="2963247"/>
                </a:cubicBezTo>
                <a:cubicBezTo>
                  <a:pt x="1920428" y="3064849"/>
                  <a:pt x="1920711" y="3166544"/>
                  <a:pt x="1920334" y="3268147"/>
                </a:cubicBezTo>
                <a:cubicBezTo>
                  <a:pt x="1919579" y="3476726"/>
                  <a:pt x="1918730" y="3685306"/>
                  <a:pt x="1917409" y="3893887"/>
                </a:cubicBezTo>
                <a:cubicBezTo>
                  <a:pt x="1917221" y="3929735"/>
                  <a:pt x="1915334" y="3965677"/>
                  <a:pt x="1912881" y="4001431"/>
                </a:cubicBezTo>
                <a:cubicBezTo>
                  <a:pt x="1907410" y="4080204"/>
                  <a:pt x="1847789" y="4146145"/>
                  <a:pt x="1766092" y="4161993"/>
                </a:cubicBezTo>
                <a:cubicBezTo>
                  <a:pt x="1736281" y="4167749"/>
                  <a:pt x="1705528" y="4171333"/>
                  <a:pt x="1675246" y="4171427"/>
                </a:cubicBezTo>
                <a:cubicBezTo>
                  <a:pt x="1199124" y="4171994"/>
                  <a:pt x="723097" y="4171900"/>
                  <a:pt x="246976" y="4171616"/>
                </a:cubicBezTo>
                <a:cubicBezTo>
                  <a:pt x="205750" y="4171616"/>
                  <a:pt x="164808" y="4166805"/>
                  <a:pt x="125186" y="4153787"/>
                </a:cubicBezTo>
                <a:cubicBezTo>
                  <a:pt x="90281" y="4142371"/>
                  <a:pt x="63207" y="4121335"/>
                  <a:pt x="43867" y="4090297"/>
                </a:cubicBezTo>
                <a:cubicBezTo>
                  <a:pt x="20849" y="4053317"/>
                  <a:pt x="6698" y="4013978"/>
                  <a:pt x="6604" y="3969451"/>
                </a:cubicBezTo>
                <a:cubicBezTo>
                  <a:pt x="4623" y="3335126"/>
                  <a:pt x="2264" y="2700895"/>
                  <a:pt x="0" y="2066664"/>
                </a:cubicBezTo>
                <a:cubicBezTo>
                  <a:pt x="755" y="2066664"/>
                  <a:pt x="1510" y="2066664"/>
                  <a:pt x="2170" y="2066664"/>
                </a:cubicBezTo>
                <a:cubicBezTo>
                  <a:pt x="2170" y="1479036"/>
                  <a:pt x="1981" y="891314"/>
                  <a:pt x="2548" y="303685"/>
                </a:cubicBezTo>
                <a:cubicBezTo>
                  <a:pt x="2548" y="259535"/>
                  <a:pt x="5944" y="215102"/>
                  <a:pt x="11321" y="171330"/>
                </a:cubicBezTo>
                <a:cubicBezTo>
                  <a:pt x="23679" y="71710"/>
                  <a:pt x="102829" y="15107"/>
                  <a:pt x="181695" y="5107"/>
                </a:cubicBezTo>
                <a:cubicBezTo>
                  <a:pt x="205090" y="2182"/>
                  <a:pt x="228863" y="768"/>
                  <a:pt x="252447" y="484"/>
                </a:cubicBezTo>
                <a:cubicBezTo>
                  <a:pt x="299805" y="-270"/>
                  <a:pt x="347256" y="13"/>
                  <a:pt x="394614" y="295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1875046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онлайн-кла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F872D83B-9F67-43CD-A259-38D41C4292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177" y="2078515"/>
            <a:ext cx="5158694" cy="3024821"/>
          </a:xfrm>
          <a:prstGeom prst="rect">
            <a:avLst/>
          </a:prstGeom>
        </p:spPr>
      </p:pic>
      <p:sp>
        <p:nvSpPr>
          <p:cNvPr id="10" name="Рисунок 10">
            <a:extLst>
              <a:ext uri="{FF2B5EF4-FFF2-40B4-BE49-F238E27FC236}">
                <a16:creationId xmlns:a16="http://schemas.microsoft.com/office/drawing/2014/main" id="{95D247D2-83AF-4DB7-BBBE-5F11EF9958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91275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Рисунок 10">
            <a:extLst>
              <a:ext uri="{FF2B5EF4-FFF2-40B4-BE49-F238E27FC236}">
                <a16:creationId xmlns:a16="http://schemas.microsoft.com/office/drawing/2014/main" id="{F6C1A6F8-E482-4CD3-B793-FB37F40D25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83550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2" name="Рисунок 10">
            <a:extLst>
              <a:ext uri="{FF2B5EF4-FFF2-40B4-BE49-F238E27FC236}">
                <a16:creationId xmlns:a16="http://schemas.microsoft.com/office/drawing/2014/main" id="{14172962-67DB-49D3-B3D9-994E0D24582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778206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3" name="Рисунок 10">
            <a:extLst>
              <a:ext uri="{FF2B5EF4-FFF2-40B4-BE49-F238E27FC236}">
                <a16:creationId xmlns:a16="http://schemas.microsoft.com/office/drawing/2014/main" id="{ABC80502-55AA-425A-A0D5-5AB24ACACD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91275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4" name="Рисунок 10">
            <a:extLst>
              <a:ext uri="{FF2B5EF4-FFF2-40B4-BE49-F238E27FC236}">
                <a16:creationId xmlns:a16="http://schemas.microsoft.com/office/drawing/2014/main" id="{B4385FE8-FF45-4D1A-A3A6-BD013E519AC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83550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5" name="Рисунок 10">
            <a:extLst>
              <a:ext uri="{FF2B5EF4-FFF2-40B4-BE49-F238E27FC236}">
                <a16:creationId xmlns:a16="http://schemas.microsoft.com/office/drawing/2014/main" id="{2C5D671B-ADA7-4ED6-BFE9-E0713373896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78206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6" name="Рисунок 10">
            <a:extLst>
              <a:ext uri="{FF2B5EF4-FFF2-40B4-BE49-F238E27FC236}">
                <a16:creationId xmlns:a16="http://schemas.microsoft.com/office/drawing/2014/main" id="{BA0C9B24-D7DB-47FE-AC55-D65EF4D832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91275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7" name="Рисунок 10">
            <a:extLst>
              <a:ext uri="{FF2B5EF4-FFF2-40B4-BE49-F238E27FC236}">
                <a16:creationId xmlns:a16="http://schemas.microsoft.com/office/drawing/2014/main" id="{B08A2850-6739-4559-B58D-9D7A351CE64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83550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8" name="Рисунок 10">
            <a:extLst>
              <a:ext uri="{FF2B5EF4-FFF2-40B4-BE49-F238E27FC236}">
                <a16:creationId xmlns:a16="http://schemas.microsoft.com/office/drawing/2014/main" id="{0D21383A-808B-4C97-9A6F-83EE82AF228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778206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19805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онлайн-класс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F872D83B-9F67-43CD-A259-38D41C4292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177" y="2078515"/>
            <a:ext cx="5158694" cy="3024821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CE9E0BF2-5738-4018-ABD3-24A059B08F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91276" y="2134253"/>
            <a:ext cx="5029697" cy="2872836"/>
          </a:xfrm>
          <a:custGeom>
            <a:avLst/>
            <a:gdLst>
              <a:gd name="connsiteX0" fmla="*/ 3386931 w 5029697"/>
              <a:gd name="connsiteY0" fmla="*/ 1950245 h 2872836"/>
              <a:gd name="connsiteX1" fmla="*/ 5029697 w 5029697"/>
              <a:gd name="connsiteY1" fmla="*/ 1950245 h 2872836"/>
              <a:gd name="connsiteX2" fmla="*/ 5029697 w 5029697"/>
              <a:gd name="connsiteY2" fmla="*/ 2872836 h 2872836"/>
              <a:gd name="connsiteX3" fmla="*/ 3386931 w 5029697"/>
              <a:gd name="connsiteY3" fmla="*/ 2872836 h 2872836"/>
              <a:gd name="connsiteX4" fmla="*/ 1692275 w 5029697"/>
              <a:gd name="connsiteY4" fmla="*/ 1950245 h 2872836"/>
              <a:gd name="connsiteX5" fmla="*/ 3335041 w 5029697"/>
              <a:gd name="connsiteY5" fmla="*/ 1950245 h 2872836"/>
              <a:gd name="connsiteX6" fmla="*/ 3335041 w 5029697"/>
              <a:gd name="connsiteY6" fmla="*/ 2872836 h 2872836"/>
              <a:gd name="connsiteX7" fmla="*/ 1692275 w 5029697"/>
              <a:gd name="connsiteY7" fmla="*/ 2872836 h 2872836"/>
              <a:gd name="connsiteX8" fmla="*/ 0 w 5029697"/>
              <a:gd name="connsiteY8" fmla="*/ 1950245 h 2872836"/>
              <a:gd name="connsiteX9" fmla="*/ 1642766 w 5029697"/>
              <a:gd name="connsiteY9" fmla="*/ 1950245 h 2872836"/>
              <a:gd name="connsiteX10" fmla="*/ 1642766 w 5029697"/>
              <a:gd name="connsiteY10" fmla="*/ 2872836 h 2872836"/>
              <a:gd name="connsiteX11" fmla="*/ 0 w 5029697"/>
              <a:gd name="connsiteY11" fmla="*/ 2872836 h 2872836"/>
              <a:gd name="connsiteX12" fmla="*/ 3386931 w 5029697"/>
              <a:gd name="connsiteY12" fmla="*/ 971551 h 2872836"/>
              <a:gd name="connsiteX13" fmla="*/ 5029697 w 5029697"/>
              <a:gd name="connsiteY13" fmla="*/ 971551 h 2872836"/>
              <a:gd name="connsiteX14" fmla="*/ 5029697 w 5029697"/>
              <a:gd name="connsiteY14" fmla="*/ 1894142 h 2872836"/>
              <a:gd name="connsiteX15" fmla="*/ 3386931 w 5029697"/>
              <a:gd name="connsiteY15" fmla="*/ 1894142 h 2872836"/>
              <a:gd name="connsiteX16" fmla="*/ 1692275 w 5029697"/>
              <a:gd name="connsiteY16" fmla="*/ 971551 h 2872836"/>
              <a:gd name="connsiteX17" fmla="*/ 3335041 w 5029697"/>
              <a:gd name="connsiteY17" fmla="*/ 971551 h 2872836"/>
              <a:gd name="connsiteX18" fmla="*/ 3335041 w 5029697"/>
              <a:gd name="connsiteY18" fmla="*/ 1894142 h 2872836"/>
              <a:gd name="connsiteX19" fmla="*/ 1692275 w 5029697"/>
              <a:gd name="connsiteY19" fmla="*/ 1894142 h 2872836"/>
              <a:gd name="connsiteX20" fmla="*/ 0 w 5029697"/>
              <a:gd name="connsiteY20" fmla="*/ 971551 h 2872836"/>
              <a:gd name="connsiteX21" fmla="*/ 1642766 w 5029697"/>
              <a:gd name="connsiteY21" fmla="*/ 971551 h 2872836"/>
              <a:gd name="connsiteX22" fmla="*/ 1642766 w 5029697"/>
              <a:gd name="connsiteY22" fmla="*/ 1894142 h 2872836"/>
              <a:gd name="connsiteX23" fmla="*/ 0 w 5029697"/>
              <a:gd name="connsiteY23" fmla="*/ 1894142 h 2872836"/>
              <a:gd name="connsiteX24" fmla="*/ 3386931 w 5029697"/>
              <a:gd name="connsiteY24" fmla="*/ 0 h 2872836"/>
              <a:gd name="connsiteX25" fmla="*/ 5029697 w 5029697"/>
              <a:gd name="connsiteY25" fmla="*/ 0 h 2872836"/>
              <a:gd name="connsiteX26" fmla="*/ 5029697 w 5029697"/>
              <a:gd name="connsiteY26" fmla="*/ 922591 h 2872836"/>
              <a:gd name="connsiteX27" fmla="*/ 3386931 w 5029697"/>
              <a:gd name="connsiteY27" fmla="*/ 922591 h 2872836"/>
              <a:gd name="connsiteX28" fmla="*/ 1692275 w 5029697"/>
              <a:gd name="connsiteY28" fmla="*/ 0 h 2872836"/>
              <a:gd name="connsiteX29" fmla="*/ 3335041 w 5029697"/>
              <a:gd name="connsiteY29" fmla="*/ 0 h 2872836"/>
              <a:gd name="connsiteX30" fmla="*/ 3335041 w 5029697"/>
              <a:gd name="connsiteY30" fmla="*/ 922591 h 2872836"/>
              <a:gd name="connsiteX31" fmla="*/ 1692275 w 5029697"/>
              <a:gd name="connsiteY31" fmla="*/ 922591 h 2872836"/>
              <a:gd name="connsiteX32" fmla="*/ 0 w 5029697"/>
              <a:gd name="connsiteY32" fmla="*/ 0 h 2872836"/>
              <a:gd name="connsiteX33" fmla="*/ 1642766 w 5029697"/>
              <a:gd name="connsiteY33" fmla="*/ 0 h 2872836"/>
              <a:gd name="connsiteX34" fmla="*/ 1642766 w 5029697"/>
              <a:gd name="connsiteY34" fmla="*/ 922591 h 2872836"/>
              <a:gd name="connsiteX35" fmla="*/ 0 w 5029697"/>
              <a:gd name="connsiteY35" fmla="*/ 922591 h 2872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029697" h="2872836">
                <a:moveTo>
                  <a:pt x="3386931" y="1950245"/>
                </a:moveTo>
                <a:lnTo>
                  <a:pt x="5029697" y="1950245"/>
                </a:lnTo>
                <a:lnTo>
                  <a:pt x="5029697" y="2872836"/>
                </a:lnTo>
                <a:lnTo>
                  <a:pt x="3386931" y="2872836"/>
                </a:lnTo>
                <a:close/>
                <a:moveTo>
                  <a:pt x="1692275" y="1950245"/>
                </a:moveTo>
                <a:lnTo>
                  <a:pt x="3335041" y="1950245"/>
                </a:lnTo>
                <a:lnTo>
                  <a:pt x="3335041" y="2872836"/>
                </a:lnTo>
                <a:lnTo>
                  <a:pt x="1692275" y="2872836"/>
                </a:lnTo>
                <a:close/>
                <a:moveTo>
                  <a:pt x="0" y="1950245"/>
                </a:moveTo>
                <a:lnTo>
                  <a:pt x="1642766" y="1950245"/>
                </a:lnTo>
                <a:lnTo>
                  <a:pt x="1642766" y="2872836"/>
                </a:lnTo>
                <a:lnTo>
                  <a:pt x="0" y="2872836"/>
                </a:lnTo>
                <a:close/>
                <a:moveTo>
                  <a:pt x="3386931" y="971551"/>
                </a:moveTo>
                <a:lnTo>
                  <a:pt x="5029697" y="971551"/>
                </a:lnTo>
                <a:lnTo>
                  <a:pt x="5029697" y="1894142"/>
                </a:lnTo>
                <a:lnTo>
                  <a:pt x="3386931" y="1894142"/>
                </a:lnTo>
                <a:close/>
                <a:moveTo>
                  <a:pt x="1692275" y="971551"/>
                </a:moveTo>
                <a:lnTo>
                  <a:pt x="3335041" y="971551"/>
                </a:lnTo>
                <a:lnTo>
                  <a:pt x="3335041" y="1894142"/>
                </a:lnTo>
                <a:lnTo>
                  <a:pt x="1692275" y="1894142"/>
                </a:lnTo>
                <a:close/>
                <a:moveTo>
                  <a:pt x="0" y="971551"/>
                </a:moveTo>
                <a:lnTo>
                  <a:pt x="1642766" y="971551"/>
                </a:lnTo>
                <a:lnTo>
                  <a:pt x="1642766" y="1894142"/>
                </a:lnTo>
                <a:lnTo>
                  <a:pt x="0" y="1894142"/>
                </a:lnTo>
                <a:close/>
                <a:moveTo>
                  <a:pt x="3386931" y="0"/>
                </a:moveTo>
                <a:lnTo>
                  <a:pt x="5029697" y="0"/>
                </a:lnTo>
                <a:lnTo>
                  <a:pt x="5029697" y="922591"/>
                </a:lnTo>
                <a:lnTo>
                  <a:pt x="3386931" y="922591"/>
                </a:lnTo>
                <a:close/>
                <a:moveTo>
                  <a:pt x="1692275" y="0"/>
                </a:moveTo>
                <a:lnTo>
                  <a:pt x="3335041" y="0"/>
                </a:lnTo>
                <a:lnTo>
                  <a:pt x="3335041" y="922591"/>
                </a:lnTo>
                <a:lnTo>
                  <a:pt x="1692275" y="922591"/>
                </a:lnTo>
                <a:close/>
                <a:moveTo>
                  <a:pt x="0" y="0"/>
                </a:moveTo>
                <a:lnTo>
                  <a:pt x="1642766" y="0"/>
                </a:lnTo>
                <a:lnTo>
                  <a:pt x="1642766" y="922591"/>
                </a:lnTo>
                <a:lnTo>
                  <a:pt x="0" y="922591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2466203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 и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41F6637E-FA25-4ED5-9B39-BB5355F469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1292663"/>
            <a:ext cx="5003800" cy="4304219"/>
          </a:xfrm>
          <a:custGeom>
            <a:avLst/>
            <a:gdLst>
              <a:gd name="connsiteX0" fmla="*/ 0 w 5003800"/>
              <a:gd name="connsiteY0" fmla="*/ 0 h 4304219"/>
              <a:gd name="connsiteX1" fmla="*/ 4945478 w 5003800"/>
              <a:gd name="connsiteY1" fmla="*/ 0 h 4304219"/>
              <a:gd name="connsiteX2" fmla="*/ 5003800 w 5003800"/>
              <a:gd name="connsiteY2" fmla="*/ 58322 h 4304219"/>
              <a:gd name="connsiteX3" fmla="*/ 5003800 w 5003800"/>
              <a:gd name="connsiteY3" fmla="*/ 4245897 h 4304219"/>
              <a:gd name="connsiteX4" fmla="*/ 4945478 w 5003800"/>
              <a:gd name="connsiteY4" fmla="*/ 4304219 h 4304219"/>
              <a:gd name="connsiteX5" fmla="*/ 0 w 5003800"/>
              <a:gd name="connsiteY5" fmla="*/ 4304219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03800" h="4304219">
                <a:moveTo>
                  <a:pt x="0" y="0"/>
                </a:moveTo>
                <a:lnTo>
                  <a:pt x="4945478" y="0"/>
                </a:lnTo>
                <a:cubicBezTo>
                  <a:pt x="4977688" y="0"/>
                  <a:pt x="5003800" y="26112"/>
                  <a:pt x="5003800" y="58322"/>
                </a:cubicBezTo>
                <a:lnTo>
                  <a:pt x="5003800" y="4245897"/>
                </a:lnTo>
                <a:cubicBezTo>
                  <a:pt x="5003800" y="4278107"/>
                  <a:pt x="4977688" y="4304219"/>
                  <a:pt x="4945478" y="4304219"/>
                </a:cubicBezTo>
                <a:lnTo>
                  <a:pt x="0" y="4304219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6683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 и тексто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5045974-98BC-4F9A-898B-5BB22DDB34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94988" y="1292662"/>
            <a:ext cx="5001012" cy="4304219"/>
          </a:xfrm>
          <a:custGeom>
            <a:avLst/>
            <a:gdLst>
              <a:gd name="connsiteX0" fmla="*/ 58322 w 5001012"/>
              <a:gd name="connsiteY0" fmla="*/ 0 h 4304219"/>
              <a:gd name="connsiteX1" fmla="*/ 5001012 w 5001012"/>
              <a:gd name="connsiteY1" fmla="*/ 0 h 4304219"/>
              <a:gd name="connsiteX2" fmla="*/ 5001012 w 5001012"/>
              <a:gd name="connsiteY2" fmla="*/ 1 h 4304219"/>
              <a:gd name="connsiteX3" fmla="*/ 5001012 w 5001012"/>
              <a:gd name="connsiteY3" fmla="*/ 4304219 h 4304219"/>
              <a:gd name="connsiteX4" fmla="*/ 58322 w 5001012"/>
              <a:gd name="connsiteY4" fmla="*/ 4304219 h 4304219"/>
              <a:gd name="connsiteX5" fmla="*/ 0 w 5001012"/>
              <a:gd name="connsiteY5" fmla="*/ 4245897 h 4304219"/>
              <a:gd name="connsiteX6" fmla="*/ 0 w 5001012"/>
              <a:gd name="connsiteY6" fmla="*/ 58322 h 4304219"/>
              <a:gd name="connsiteX7" fmla="*/ 58322 w 5001012"/>
              <a:gd name="connsiteY7" fmla="*/ 0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1012" h="4304219">
                <a:moveTo>
                  <a:pt x="58322" y="0"/>
                </a:moveTo>
                <a:lnTo>
                  <a:pt x="5001012" y="0"/>
                </a:lnTo>
                <a:lnTo>
                  <a:pt x="5001012" y="1"/>
                </a:lnTo>
                <a:lnTo>
                  <a:pt x="5001012" y="4304219"/>
                </a:lnTo>
                <a:lnTo>
                  <a:pt x="58322" y="4304219"/>
                </a:lnTo>
                <a:cubicBezTo>
                  <a:pt x="26112" y="4304219"/>
                  <a:pt x="0" y="4278107"/>
                  <a:pt x="0" y="4245897"/>
                </a:cubicBezTo>
                <a:lnTo>
                  <a:pt x="0" y="58322"/>
                </a:lnTo>
                <a:cubicBezTo>
                  <a:pt x="0" y="26112"/>
                  <a:pt x="26112" y="0"/>
                  <a:pt x="58322" y="0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8166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9063BE5-C071-41FD-B46E-66E593A011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92201" y="1292662"/>
            <a:ext cx="10007600" cy="4333523"/>
          </a:xfrm>
          <a:prstGeom prst="roundRect">
            <a:avLst>
              <a:gd name="adj" fmla="val 1281"/>
            </a:avLst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00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 строчки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290209"/>
            <a:ext cx="8431847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57FCC7-863C-407B-9FB0-9545797528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813" y="617855"/>
            <a:ext cx="84318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US" sz="2400" cap="all" baseline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marL="228600" lvl="0" indent="-228600">
              <a:spcBef>
                <a:spcPct val="0"/>
              </a:spcBef>
            </a:pPr>
            <a:r>
              <a:rPr lang="ru-RU"/>
              <a:t>Вторая строч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076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E59C2CC-921F-4753-9DC7-FC2BE6957830}"/>
              </a:ext>
            </a:extLst>
          </p:cNvPr>
          <p:cNvGrpSpPr/>
          <p:nvPr userDrawn="1"/>
        </p:nvGrpSpPr>
        <p:grpSpPr>
          <a:xfrm>
            <a:off x="5024978" y="3109229"/>
            <a:ext cx="2418064" cy="3748771"/>
            <a:chOff x="5024978" y="3109229"/>
            <a:chExt cx="2418064" cy="3748771"/>
          </a:xfrm>
        </p:grpSpPr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1CEA0B8-7D76-4D8C-8A78-FA3F5117AD1A}"/>
                </a:ext>
              </a:extLst>
            </p:cNvPr>
            <p:cNvSpPr/>
            <p:nvPr/>
          </p:nvSpPr>
          <p:spPr>
            <a:xfrm>
              <a:off x="5352638" y="3109229"/>
              <a:ext cx="2090404" cy="3748771"/>
            </a:xfrm>
            <a:prstGeom prst="parallelogram">
              <a:avLst>
                <a:gd name="adj" fmla="val 42841"/>
              </a:avLst>
            </a:prstGeom>
            <a:gradFill>
              <a:gsLst>
                <a:gs pos="0">
                  <a:schemeClr val="accent1">
                    <a:alpha val="40000"/>
                  </a:schemeClr>
                </a:gs>
                <a:gs pos="83000">
                  <a:schemeClr val="accent1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Parallelogram 8">
              <a:extLst>
                <a:ext uri="{FF2B5EF4-FFF2-40B4-BE49-F238E27FC236}">
                  <a16:creationId xmlns:a16="http://schemas.microsoft.com/office/drawing/2014/main" id="{BBF0B4BB-2F79-45A7-BD1C-2AB0ACFF25C0}"/>
                </a:ext>
              </a:extLst>
            </p:cNvPr>
            <p:cNvSpPr/>
            <p:nvPr/>
          </p:nvSpPr>
          <p:spPr>
            <a:xfrm>
              <a:off x="5024978" y="3109229"/>
              <a:ext cx="2090404" cy="3748771"/>
            </a:xfrm>
            <a:prstGeom prst="parallelogram">
              <a:avLst>
                <a:gd name="adj" fmla="val 43069"/>
              </a:avLst>
            </a:prstGeom>
            <a:gradFill>
              <a:gsLst>
                <a:gs pos="0">
                  <a:schemeClr val="accent1">
                    <a:alpha val="20000"/>
                  </a:schemeClr>
                </a:gs>
                <a:gs pos="63000">
                  <a:schemeClr val="accent1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B2E4D1C-5BCE-442C-A13D-F006CA583C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6607619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</p:spTree>
    <p:extLst>
      <p:ext uri="{BB962C8B-B14F-4D97-AF65-F5344CB8AC3E}">
        <p14:creationId xmlns:p14="http://schemas.microsoft.com/office/powerpoint/2010/main" val="1064162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able&#10;&#10;Description automatically generated">
            <a:extLst>
              <a:ext uri="{FF2B5EF4-FFF2-40B4-BE49-F238E27FC236}">
                <a16:creationId xmlns:a16="http://schemas.microsoft.com/office/drawing/2014/main" id="{FC411482-A01D-4D41-9049-435751A034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CD4A95A7-CC45-4AFB-96BE-6972E37907F7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52E7292-5408-4D63-A23B-9FAE93552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6607619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pic>
        <p:nvPicPr>
          <p:cNvPr id="9" name="Рисунок 3">
            <a:extLst>
              <a:ext uri="{FF2B5EF4-FFF2-40B4-BE49-F238E27FC236}">
                <a16:creationId xmlns:a16="http://schemas.microsoft.com/office/drawing/2014/main" id="{57AE9D31-0623-416B-A401-425C073177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817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436381B5-2874-4CCA-A61B-B4BDD05B9C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t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C0D8309-28B8-4E0E-B60C-F6DF2EAA12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446892"/>
            <a:ext cx="12192001" cy="457449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368F232-4EDA-4308-9BC4-CE2AD87F14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2850" y="1951038"/>
            <a:ext cx="4686300" cy="3323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Вопрос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3F6F0B4-EAF1-432E-AB16-AA9627F1D7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726636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446892"/>
            <a:ext cx="12192000" cy="457449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t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ACB414D-AF68-4F17-8B9B-1C70E89FEC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446892"/>
            <a:ext cx="12192001" cy="457449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2850" y="750888"/>
            <a:ext cx="4686300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8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Вопрос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A159CEF-90A6-4569-9B57-0757D037C8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  <p:pic>
        <p:nvPicPr>
          <p:cNvPr id="7" name="Рисунок 10">
            <a:extLst>
              <a:ext uri="{FF2B5EF4-FFF2-40B4-BE49-F238E27FC236}">
                <a16:creationId xmlns:a16="http://schemas.microsoft.com/office/drawing/2014/main" id="{34AEDF31-09C5-4B8A-A6D7-F023E33530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54693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9">
            <a:extLst>
              <a:ext uri="{FF2B5EF4-FFF2-40B4-BE49-F238E27FC236}">
                <a16:creationId xmlns:a16="http://schemas.microsoft.com/office/drawing/2014/main" id="{5714FDBB-C50A-4F9F-A96C-17853B9D35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4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937" t="5444" r="16938" b="15134"/>
          <a:stretch/>
        </p:blipFill>
        <p:spPr>
          <a:xfrm>
            <a:off x="6745917" y="663073"/>
            <a:ext cx="5425440" cy="6194927"/>
          </a:xfrm>
          <a:prstGeom prst="rect">
            <a:avLst/>
          </a:prstGeom>
        </p:spPr>
      </p:pic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6E97C4FE-CB97-4C1E-B4C4-ECC5269A7C19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507CC24-3842-40FB-B371-67EEA4221B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21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A159CEF-90A6-4569-9B57-0757D037C8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  <p:pic>
        <p:nvPicPr>
          <p:cNvPr id="7" name="Рисунок 10">
            <a:extLst>
              <a:ext uri="{FF2B5EF4-FFF2-40B4-BE49-F238E27FC236}">
                <a16:creationId xmlns:a16="http://schemas.microsoft.com/office/drawing/2014/main" id="{34AEDF31-09C5-4B8A-A6D7-F023E33530A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7389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роткая фраза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D5F857E-104E-4CB8-9B97-DFEEBCDC77A5}"/>
              </a:ext>
            </a:extLst>
          </p:cNvPr>
          <p:cNvSpPr/>
          <p:nvPr userDrawn="1"/>
        </p:nvSpPr>
        <p:spPr>
          <a:xfrm>
            <a:off x="-1" y="1141753"/>
            <a:ext cx="7354754" cy="4574495"/>
          </a:xfrm>
          <a:custGeom>
            <a:avLst/>
            <a:gdLst>
              <a:gd name="connsiteX0" fmla="*/ 0 w 7354754"/>
              <a:gd name="connsiteY0" fmla="*/ 0 h 4574495"/>
              <a:gd name="connsiteX1" fmla="*/ 7354754 w 7354754"/>
              <a:gd name="connsiteY1" fmla="*/ 0 h 4574495"/>
              <a:gd name="connsiteX2" fmla="*/ 6256130 w 7354754"/>
              <a:gd name="connsiteY2" fmla="*/ 4574495 h 4574495"/>
              <a:gd name="connsiteX3" fmla="*/ 0 w 7354754"/>
              <a:gd name="connsiteY3" fmla="*/ 4574495 h 4574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54754" h="4574495">
                <a:moveTo>
                  <a:pt x="0" y="0"/>
                </a:moveTo>
                <a:lnTo>
                  <a:pt x="7354754" y="0"/>
                </a:lnTo>
                <a:lnTo>
                  <a:pt x="6256130" y="4574495"/>
                </a:lnTo>
                <a:lnTo>
                  <a:pt x="0" y="4574495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1" name="Рисунок 82">
            <a:extLst>
              <a:ext uri="{FF2B5EF4-FFF2-40B4-BE49-F238E27FC236}">
                <a16:creationId xmlns:a16="http://schemas.microsoft.com/office/drawing/2014/main" id="{C9CA1AE7-E8C7-4A85-8AFC-AD924F33D6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r="23520" b="35217"/>
          <a:stretch/>
        </p:blipFill>
        <p:spPr>
          <a:xfrm>
            <a:off x="3579971" y="2120900"/>
            <a:ext cx="3595042" cy="3721889"/>
          </a:xfrm>
          <a:prstGeom prst="rect">
            <a:avLst/>
          </a:prstGeom>
        </p:spPr>
      </p:pic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B2E4D1C-5BCE-442C-A13D-F006CA583C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10" name="Заголовок 6">
            <a:extLst>
              <a:ext uri="{FF2B5EF4-FFF2-40B4-BE49-F238E27FC236}">
                <a16:creationId xmlns:a16="http://schemas.microsoft.com/office/drawing/2014/main" id="{F586D425-74B3-4E43-B34F-1174306171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2875003"/>
            <a:ext cx="4889500" cy="1107996"/>
          </a:xfrm>
        </p:spPr>
        <p:txBody>
          <a:bodyPr anchor="ctr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Крупная короткая фраза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C067C3-07A2-49F7-98B6-8D64BBEE3E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400" y="2361099"/>
            <a:ext cx="488950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866F56C-B103-47FC-8B84-4F5467FF75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4168468"/>
            <a:ext cx="4889500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8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яснительный текст</a:t>
            </a:r>
          </a:p>
        </p:txBody>
      </p:sp>
      <p:pic>
        <p:nvPicPr>
          <p:cNvPr id="9" name="Рисунок 10">
            <a:extLst>
              <a:ext uri="{FF2B5EF4-FFF2-40B4-BE49-F238E27FC236}">
                <a16:creationId xmlns:a16="http://schemas.microsoft.com/office/drawing/2014/main" id="{B70289F3-2DD9-4378-BB81-B4F948A75F5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21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роткая фраза 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452E7292-5408-4D63-A23B-9FAE93552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1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40BE061-5F58-422F-A512-9463E3277201}"/>
              </a:ext>
            </a:extLst>
          </p:cNvPr>
          <p:cNvSpPr/>
          <p:nvPr userDrawn="1"/>
        </p:nvSpPr>
        <p:spPr>
          <a:xfrm>
            <a:off x="-1" y="1141753"/>
            <a:ext cx="12192000" cy="457449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59C1733-F1DE-4FBF-8EA8-C8FEE7948A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alphaModFix amt="36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705" t="21702" r="8705" b="6617"/>
          <a:stretch/>
        </p:blipFill>
        <p:spPr>
          <a:xfrm>
            <a:off x="21716" y="1141753"/>
            <a:ext cx="12192000" cy="4574495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cxnSp>
        <p:nvCxnSpPr>
          <p:cNvPr id="8" name="Прямая соединительная линия 5">
            <a:extLst>
              <a:ext uri="{FF2B5EF4-FFF2-40B4-BE49-F238E27FC236}">
                <a16:creationId xmlns:a16="http://schemas.microsoft.com/office/drawing/2014/main" id="{397FC5C2-F13C-4545-9772-EC697CBFC059}"/>
              </a:ext>
            </a:extLst>
          </p:cNvPr>
          <p:cNvCxnSpPr>
            <a:cxnSpLocks/>
          </p:cNvCxnSpPr>
          <p:nvPr userDrawn="1"/>
        </p:nvCxnSpPr>
        <p:spPr>
          <a:xfrm>
            <a:off x="658813" y="6697548"/>
            <a:ext cx="354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82">
            <a:extLst>
              <a:ext uri="{FF2B5EF4-FFF2-40B4-BE49-F238E27FC236}">
                <a16:creationId xmlns:a16="http://schemas.microsoft.com/office/drawing/2014/main" id="{69F71186-8403-4694-AD30-E0138038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" r="23520" b="35217"/>
          <a:stretch/>
        </p:blipFill>
        <p:spPr>
          <a:xfrm>
            <a:off x="8278116" y="1664267"/>
            <a:ext cx="3913884" cy="4051981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24A8AFAC-E4B3-4B1C-9D19-1914F6B0B6E4}"/>
              </a:ext>
            </a:extLst>
          </p:cNvPr>
          <p:cNvGrpSpPr/>
          <p:nvPr userDrawn="1"/>
        </p:nvGrpSpPr>
        <p:grpSpPr>
          <a:xfrm>
            <a:off x="-1" y="971550"/>
            <a:ext cx="12213717" cy="4914900"/>
            <a:chOff x="-1" y="958707"/>
            <a:chExt cx="12213717" cy="4914900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8EA4ED0F-1C60-4B2D-8732-019F0A5B55E6}"/>
                </a:ext>
              </a:extLst>
            </p:cNvPr>
            <p:cNvCxnSpPr/>
            <p:nvPr userDrawn="1"/>
          </p:nvCxnSpPr>
          <p:spPr>
            <a:xfrm>
              <a:off x="-1" y="958707"/>
              <a:ext cx="12213717" cy="0"/>
            </a:xfrm>
            <a:prstGeom prst="line">
              <a:avLst/>
            </a:prstGeom>
            <a:ln w="50800">
              <a:gradFill>
                <a:gsLst>
                  <a:gs pos="0">
                    <a:schemeClr val="accent6"/>
                  </a:gs>
                  <a:gs pos="100000">
                    <a:schemeClr val="accent6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623C465-EB69-451D-83EB-77C16C5C07E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" y="5873607"/>
              <a:ext cx="12213717" cy="0"/>
            </a:xfrm>
            <a:prstGeom prst="line">
              <a:avLst/>
            </a:prstGeom>
            <a:ln w="50800">
              <a:gradFill>
                <a:gsLst>
                  <a:gs pos="0">
                    <a:schemeClr val="accent6"/>
                  </a:gs>
                  <a:gs pos="100000">
                    <a:schemeClr val="accent6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Заголовок 6">
            <a:extLst>
              <a:ext uri="{FF2B5EF4-FFF2-40B4-BE49-F238E27FC236}">
                <a16:creationId xmlns:a16="http://schemas.microsoft.com/office/drawing/2014/main" id="{892C7CF8-ECA8-456D-8502-12A805011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4500" y="3172183"/>
            <a:ext cx="8763000" cy="1107996"/>
          </a:xfrm>
        </p:spPr>
        <p:txBody>
          <a:bodyPr anchor="ctr"/>
          <a:lstStyle>
            <a:lvl1pPr algn="ctr"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Крупная</a:t>
            </a:r>
            <a:br>
              <a:rPr lang="ru-RU"/>
            </a:br>
            <a:r>
              <a:rPr lang="ru-RU"/>
              <a:t>короткая фраза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CFAC486-CBF0-4911-B71D-B6454A7C14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43175" y="2658279"/>
            <a:ext cx="710565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52D4709-CFED-4B57-9602-F4092BAE5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43175" y="4465648"/>
            <a:ext cx="7105650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en-US" sz="18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яснительный текст</a:t>
            </a:r>
          </a:p>
        </p:txBody>
      </p:sp>
    </p:spTree>
    <p:extLst>
      <p:ext uri="{BB962C8B-B14F-4D97-AF65-F5344CB8AC3E}">
        <p14:creationId xmlns:p14="http://schemas.microsoft.com/office/powerpoint/2010/main" val="1784737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D262FE5-846C-4B2F-923C-650BED95D931}"/>
              </a:ext>
            </a:extLst>
          </p:cNvPr>
          <p:cNvSpPr txBox="1"/>
          <p:nvPr userDrawn="1"/>
        </p:nvSpPr>
        <p:spPr>
          <a:xfrm>
            <a:off x="6234433" y="-2001"/>
            <a:ext cx="1295226" cy="30777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20000">
                <a:solidFill>
                  <a:schemeClr val="accent6"/>
                </a:soli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20000">
              <a:solidFill>
                <a:schemeClr val="accent6"/>
              </a:solidFill>
              <a:latin typeface="+mj-lt"/>
              <a:ea typeface="Euclid Circular A" panose="020B0504000000000000" pitchFamily="34" charset="-52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AFD724-3059-4751-BABB-102909D41311}"/>
              </a:ext>
            </a:extLst>
          </p:cNvPr>
          <p:cNvSpPr/>
          <p:nvPr userDrawn="1"/>
        </p:nvSpPr>
        <p:spPr>
          <a:xfrm>
            <a:off x="1482343" y="614861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62000"/>
                </a:schemeClr>
              </a:gs>
              <a:gs pos="97000">
                <a:schemeClr val="accent1">
                  <a:alpha val="0"/>
                </a:schemeClr>
              </a:gs>
            </a:gsLst>
            <a:lin ang="27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92200" y="907469"/>
            <a:ext cx="4535424" cy="5043062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7926" y="1756728"/>
            <a:ext cx="433748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83F5249-2463-46E3-B45E-777E64BB2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96480" y="5102216"/>
            <a:ext cx="359892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Имя автора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1545B6-DADB-4484-8C32-B3BB13B767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6480" y="5436324"/>
            <a:ext cx="3598926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160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pic>
        <p:nvPicPr>
          <p:cNvPr id="11" name="Рисунок 3">
            <a:extLst>
              <a:ext uri="{FF2B5EF4-FFF2-40B4-BE49-F238E27FC236}">
                <a16:creationId xmlns:a16="http://schemas.microsoft.com/office/drawing/2014/main" id="{82DE6A61-13B3-4760-A2EC-3AEE7DE12E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49253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Цитат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1B8B82DE-50F1-4A3A-AB52-9FDCF1AEB9D1}"/>
              </a:ext>
            </a:extLst>
          </p:cNvPr>
          <p:cNvSpPr txBox="1"/>
          <p:nvPr userDrawn="1"/>
        </p:nvSpPr>
        <p:spPr>
          <a:xfrm>
            <a:off x="538548" y="314325"/>
            <a:ext cx="1865895" cy="443198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28800">
                <a:solidFill>
                  <a:schemeClr val="accent6">
                    <a:alpha val="12000"/>
                  </a:schemeClr>
                </a:soli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28800">
              <a:solidFill>
                <a:schemeClr val="accent6">
                  <a:alpha val="12000"/>
                </a:schemeClr>
              </a:solidFill>
              <a:latin typeface="+mj-lt"/>
              <a:ea typeface="Euclid Circular A" panose="020B0504000000000000" pitchFamily="34" charset="-52"/>
            </a:endParaRPr>
          </a:p>
        </p:txBody>
      </p:sp>
      <p:pic>
        <p:nvPicPr>
          <p:cNvPr id="15" name="Рисунок 3">
            <a:extLst>
              <a:ext uri="{FF2B5EF4-FFF2-40B4-BE49-F238E27FC236}">
                <a16:creationId xmlns:a16="http://schemas.microsoft.com/office/drawing/2014/main" id="{6F4DD93A-7BB2-43FE-9CA6-1E92344181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495" y="311312"/>
            <a:ext cx="1176000" cy="360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3AFD724-3059-4751-BABB-102909D41311}"/>
              </a:ext>
            </a:extLst>
          </p:cNvPr>
          <p:cNvSpPr/>
          <p:nvPr userDrawn="1"/>
        </p:nvSpPr>
        <p:spPr>
          <a:xfrm>
            <a:off x="5619320" y="0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20000"/>
                </a:schemeClr>
              </a:gs>
              <a:gs pos="50000">
                <a:schemeClr val="accent1">
                  <a:alpha val="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8AE5D02-CB2E-4153-A775-5875A722BA6A}"/>
              </a:ext>
            </a:extLst>
          </p:cNvPr>
          <p:cNvSpPr/>
          <p:nvPr userDrawn="1"/>
        </p:nvSpPr>
        <p:spPr>
          <a:xfrm>
            <a:off x="6055540" y="0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20000"/>
                </a:schemeClr>
              </a:gs>
              <a:gs pos="63000">
                <a:schemeClr val="accent1">
                  <a:alpha val="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96230" y="0"/>
            <a:ext cx="579577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754112"/>
            <a:ext cx="4513405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6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83F5249-2463-46E3-B45E-777E64BB2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678" y="5102216"/>
            <a:ext cx="450626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Имя автора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1545B6-DADB-4484-8C32-B3BB13B767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678" y="5436324"/>
            <a:ext cx="450626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160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61984530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37587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0" y="4101930"/>
            <a:ext cx="4659242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35727" y="4101930"/>
            <a:ext cx="4659242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1731101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ал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021DBFA-2785-476F-BB4E-D29C3F5F83B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en-US"/>
              <a:t>Picture</a:t>
            </a:r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1341120"/>
            <a:ext cx="5646399" cy="1046633"/>
          </a:xfrm>
        </p:spPr>
        <p:txBody>
          <a:bodyPr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sz="3200" cap="all" baseline="0"/>
            </a:lvl1pPr>
          </a:lstStyle>
          <a:p>
            <a:r>
              <a:rPr lang="en-US"/>
              <a:t>Headline</a:t>
            </a:r>
            <a:br>
              <a:rPr lang="en-US"/>
            </a:br>
            <a:r>
              <a:rPr lang="en-US"/>
              <a:t>with several lines</a:t>
            </a:r>
            <a:endParaRPr lang="ru-RU"/>
          </a:p>
        </p:txBody>
      </p:sp>
      <p:cxnSp>
        <p:nvCxnSpPr>
          <p:cNvPr id="11" name="Прямая соединительная линия 30">
            <a:extLst>
              <a:ext uri="{FF2B5EF4-FFF2-40B4-BE49-F238E27FC236}">
                <a16:creationId xmlns:a16="http://schemas.microsoft.com/office/drawing/2014/main" id="{917BE271-46E7-4DBA-A0CD-B80420923A7E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heading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10FB9F3-ACA6-4B34-BBFF-8D6A1FBCD5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D750032-1C33-4722-ABFA-3C055341AB6A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ic 11">
            <a:extLst>
              <a:ext uri="{FF2B5EF4-FFF2-40B4-BE49-F238E27FC236}">
                <a16:creationId xmlns:a16="http://schemas.microsoft.com/office/drawing/2014/main" id="{6326D928-ED4A-4B15-899A-47C89F35C5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9638" y="497955"/>
            <a:ext cx="1344168" cy="470839"/>
          </a:xfrm>
          <a:prstGeom prst="rect">
            <a:avLst/>
          </a:prstGeom>
        </p:spPr>
      </p:pic>
      <p:pic>
        <p:nvPicPr>
          <p:cNvPr id="16" name="Рисунок 1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948355E-81FE-492B-B96C-F96D26E5BE9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62435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icture containing table&#10;&#10;Description automatically generated">
            <a:extLst>
              <a:ext uri="{FF2B5EF4-FFF2-40B4-BE49-F238E27FC236}">
                <a16:creationId xmlns:a16="http://schemas.microsoft.com/office/drawing/2014/main" id="{CB1BA33C-C1F7-40A7-AEF5-CF9FB62DCD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22" name="Прямоугольник 2">
            <a:extLst>
              <a:ext uri="{FF2B5EF4-FFF2-40B4-BE49-F238E27FC236}">
                <a16:creationId xmlns:a16="http://schemas.microsoft.com/office/drawing/2014/main" id="{C8636BB8-0E4C-41F4-8743-4970E70B13A8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2D10374-6A79-4F0D-8864-2A0B42245C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10" name="Рамка 29">
            <a:extLst>
              <a:ext uri="{FF2B5EF4-FFF2-40B4-BE49-F238E27FC236}">
                <a16:creationId xmlns:a16="http://schemas.microsoft.com/office/drawing/2014/main" id="{F3866D87-E695-4F59-A63B-A269D94BB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2" name="Прямая соединительная линия 30">
            <a:extLst>
              <a:ext uri="{FF2B5EF4-FFF2-40B4-BE49-F238E27FC236}">
                <a16:creationId xmlns:a16="http://schemas.microsoft.com/office/drawing/2014/main" id="{498A6940-DBC4-46E6-B215-61E80287D227}"/>
              </a:ext>
            </a:extLst>
          </p:cNvPr>
          <p:cNvCxnSpPr>
            <a:cxnSpLocks/>
          </p:cNvCxnSpPr>
          <p:nvPr userDrawn="1"/>
        </p:nvCxnSpPr>
        <p:spPr>
          <a:xfrm>
            <a:off x="914400" y="137160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8" y="2589454"/>
            <a:ext cx="5003982" cy="1046633"/>
          </a:xfrm>
        </p:spPr>
        <p:txBody>
          <a:bodyPr wrap="square" anchor="ctr"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sz="3200" cap="all" baseline="0"/>
            </a:lvl1pPr>
          </a:lstStyle>
          <a:p>
            <a:r>
              <a:rPr lang="en-US"/>
              <a:t>Headline</a:t>
            </a:r>
            <a:br>
              <a:rPr lang="en-US"/>
            </a:br>
            <a:r>
              <a:rPr lang="en-US"/>
              <a:t>with several lines</a:t>
            </a:r>
            <a:endParaRPr lang="ru-R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4961393"/>
            <a:ext cx="52598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2000" kern="1200" cap="none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10FB9F3-ACA6-4B34-BBFF-8D6A1FBCD5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5310641"/>
            <a:ext cx="5259821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400" kern="1200" dirty="0" smtClean="0">
                <a:solidFill>
                  <a:schemeClr val="bg2"/>
                </a:solidFill>
                <a:latin typeface="+mn-lt"/>
                <a:ea typeface="Euclid Circular A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osition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622419E-C953-485E-9FEC-00B1B4F4D9E6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phic 11">
            <a:extLst>
              <a:ext uri="{FF2B5EF4-FFF2-40B4-BE49-F238E27FC236}">
                <a16:creationId xmlns:a16="http://schemas.microsoft.com/office/drawing/2014/main" id="{5FF8DF28-A5AD-45B1-8783-E0A35EE86AE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9638" y="497955"/>
            <a:ext cx="1344168" cy="470839"/>
          </a:xfrm>
          <a:prstGeom prst="rect">
            <a:avLst/>
          </a:prstGeom>
        </p:spPr>
      </p:pic>
      <p:pic>
        <p:nvPicPr>
          <p:cNvPr id="17" name="Рисунок 1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75CC804-0CD4-4B89-A524-328F16D1687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99209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без изображ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table&#10;&#10;Description automatically generated">
            <a:extLst>
              <a:ext uri="{FF2B5EF4-FFF2-40B4-BE49-F238E27FC236}">
                <a16:creationId xmlns:a16="http://schemas.microsoft.com/office/drawing/2014/main" id="{DB8F0A0E-4A01-4BC2-95D8-CC6D77F1A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18" name="Прямоугольник 2">
            <a:extLst>
              <a:ext uri="{FF2B5EF4-FFF2-40B4-BE49-F238E27FC236}">
                <a16:creationId xmlns:a16="http://schemas.microsoft.com/office/drawing/2014/main" id="{A165DB1E-F99F-4F5E-B9CF-BEE49A7D5268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8B40DDC-AF21-425F-9985-2CAA06499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4" name="Рамка 29">
            <a:extLst>
              <a:ext uri="{FF2B5EF4-FFF2-40B4-BE49-F238E27FC236}">
                <a16:creationId xmlns:a16="http://schemas.microsoft.com/office/drawing/2014/main" id="{0834A1E9-DEA2-4810-98C1-4864B91A12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30">
            <a:extLst>
              <a:ext uri="{FF2B5EF4-FFF2-40B4-BE49-F238E27FC236}">
                <a16:creationId xmlns:a16="http://schemas.microsoft.com/office/drawing/2014/main" id="{F132133A-891C-4552-A97F-33204B2F7CB0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D79935-82BE-423B-BC88-EC03A5F2D4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6466" y="1341120"/>
            <a:ext cx="50570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  <a:endParaRPr lang="ru-RU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AB0D41-54FA-455A-B04F-360320D6BD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6466" y="1833563"/>
            <a:ext cx="50570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6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osition</a:t>
            </a:r>
            <a:endParaRPr lang="ru-RU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20C9937-63C3-4E89-8622-8FB346561E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vent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5D5843-46DE-4D8B-BA27-CEC322CDA7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695936-F81D-4307-A99D-B29477736C00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phic 11">
            <a:extLst>
              <a:ext uri="{FF2B5EF4-FFF2-40B4-BE49-F238E27FC236}">
                <a16:creationId xmlns:a16="http://schemas.microsoft.com/office/drawing/2014/main" id="{6B21CD8F-E1F8-4111-90E1-9251239A30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9638" y="497955"/>
            <a:ext cx="1344168" cy="470839"/>
          </a:xfrm>
          <a:prstGeom prst="rect">
            <a:avLst/>
          </a:prstGeom>
        </p:spPr>
      </p:pic>
      <p:pic>
        <p:nvPicPr>
          <p:cNvPr id="21" name="Рисунок 2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766B9984-AE22-4B5C-812E-15777431021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06854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трочка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Headline</a:t>
            </a:r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5933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 строчки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290209"/>
            <a:ext cx="8431847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Headline</a:t>
            </a:r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57FCC7-863C-407B-9FB0-9545797528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813" y="617855"/>
            <a:ext cx="84318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US" sz="2400" cap="all" baseline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marL="228600" lvl="0" indent="-228600">
              <a:spcBef>
                <a:spcPct val="0"/>
              </a:spcBef>
            </a:pPr>
            <a:r>
              <a:rPr lang="en-US"/>
              <a:t>Second line</a:t>
            </a:r>
          </a:p>
        </p:txBody>
      </p:sp>
    </p:spTree>
    <p:extLst>
      <p:ext uri="{BB962C8B-B14F-4D97-AF65-F5344CB8AC3E}">
        <p14:creationId xmlns:p14="http://schemas.microsoft.com/office/powerpoint/2010/main" val="1122175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028801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E59C2CC-921F-4753-9DC7-FC2BE6957830}"/>
              </a:ext>
            </a:extLst>
          </p:cNvPr>
          <p:cNvGrpSpPr/>
          <p:nvPr userDrawn="1"/>
        </p:nvGrpSpPr>
        <p:grpSpPr>
          <a:xfrm>
            <a:off x="5024978" y="3109229"/>
            <a:ext cx="2418064" cy="3748771"/>
            <a:chOff x="5024978" y="3109229"/>
            <a:chExt cx="2418064" cy="3748771"/>
          </a:xfrm>
        </p:grpSpPr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1CEA0B8-7D76-4D8C-8A78-FA3F5117AD1A}"/>
                </a:ext>
              </a:extLst>
            </p:cNvPr>
            <p:cNvSpPr/>
            <p:nvPr/>
          </p:nvSpPr>
          <p:spPr>
            <a:xfrm>
              <a:off x="5352638" y="3109229"/>
              <a:ext cx="2090404" cy="3748771"/>
            </a:xfrm>
            <a:prstGeom prst="parallelogram">
              <a:avLst>
                <a:gd name="adj" fmla="val 42841"/>
              </a:avLst>
            </a:prstGeom>
            <a:gradFill>
              <a:gsLst>
                <a:gs pos="0">
                  <a:schemeClr val="accent1">
                    <a:alpha val="40000"/>
                  </a:schemeClr>
                </a:gs>
                <a:gs pos="83000">
                  <a:schemeClr val="accent1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uclid Circular A"/>
                <a:ea typeface="+mn-ea"/>
                <a:cs typeface="+mn-cs"/>
              </a:endParaRPr>
            </a:p>
          </p:txBody>
        </p:sp>
        <p:sp>
          <p:nvSpPr>
            <p:cNvPr id="9" name="Parallelogram 8">
              <a:extLst>
                <a:ext uri="{FF2B5EF4-FFF2-40B4-BE49-F238E27FC236}">
                  <a16:creationId xmlns:a16="http://schemas.microsoft.com/office/drawing/2014/main" id="{BBF0B4BB-2F79-45A7-BD1C-2AB0ACFF25C0}"/>
                </a:ext>
              </a:extLst>
            </p:cNvPr>
            <p:cNvSpPr/>
            <p:nvPr/>
          </p:nvSpPr>
          <p:spPr>
            <a:xfrm>
              <a:off x="5024978" y="3109229"/>
              <a:ext cx="2090404" cy="3748771"/>
            </a:xfrm>
            <a:prstGeom prst="parallelogram">
              <a:avLst>
                <a:gd name="adj" fmla="val 43069"/>
              </a:avLst>
            </a:prstGeom>
            <a:gradFill>
              <a:gsLst>
                <a:gs pos="0">
                  <a:schemeClr val="accent1">
                    <a:alpha val="20000"/>
                  </a:schemeClr>
                </a:gs>
                <a:gs pos="63000">
                  <a:schemeClr val="accent1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uclid Circular A"/>
                <a:ea typeface="+mn-ea"/>
                <a:cs typeface="+mn-cs"/>
              </a:endParaRPr>
            </a:p>
          </p:txBody>
        </p:sp>
      </p:grp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B2E4D1C-5BCE-442C-A13D-F006CA583C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6607619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AA8A74-8566-41AB-BE36-77E5736D8C67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BE1E2D"/>
                </a:solidFill>
                <a:effectLst/>
                <a:uLnTx/>
                <a:uFillTx/>
                <a:latin typeface="Euclid Circular 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srgbClr val="BE1E2D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768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8534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88F2BDCB-B8D5-46C5-B498-B34DD65BC9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7149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1205485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1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71654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88F2BDCB-B8D5-46C5-B498-B34DD65BC9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52929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BD68CF29-070B-4282-BF53-C3A10620C79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30413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313040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pic>
        <p:nvPicPr>
          <p:cNvPr id="6" name="Picture 16" descr="A screenshot of a flat screen television&#10;&#10;Description automatically generated">
            <a:extLst>
              <a:ext uri="{FF2B5EF4-FFF2-40B4-BE49-F238E27FC236}">
                <a16:creationId xmlns:a16="http://schemas.microsoft.com/office/drawing/2014/main" id="{468BE97C-7BE9-4254-ADB9-BBADE1E30B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00111" y="1179094"/>
            <a:ext cx="9550185" cy="5639383"/>
          </a:xfrm>
          <a:prstGeom prst="rect">
            <a:avLst/>
          </a:prstGeom>
        </p:spPr>
      </p:pic>
      <p:sp>
        <p:nvSpPr>
          <p:cNvPr id="8" name="Рисунок 3">
            <a:extLst>
              <a:ext uri="{FF2B5EF4-FFF2-40B4-BE49-F238E27FC236}">
                <a16:creationId xmlns:a16="http://schemas.microsoft.com/office/drawing/2014/main" id="{D4E40A85-C800-414C-BEE1-B578D5514C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14913" y="1516856"/>
            <a:ext cx="6238875" cy="381952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3892920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22">
            <a:extLst>
              <a:ext uri="{FF2B5EF4-FFF2-40B4-BE49-F238E27FC236}">
                <a16:creationId xmlns:a16="http://schemas.microsoft.com/office/drawing/2014/main" id="{C784C029-6C93-413D-8699-4362434FDC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l="34033" t="15463" r="28889" b="14498"/>
          <a:stretch/>
        </p:blipFill>
        <p:spPr>
          <a:xfrm>
            <a:off x="8442477" y="1060171"/>
            <a:ext cx="2918577" cy="5513074"/>
          </a:xfrm>
          <a:prstGeom prst="rect">
            <a:avLst/>
          </a:prstGeom>
          <a:noFill/>
          <a:ln>
            <a:noFill/>
          </a:ln>
          <a:effectLst>
            <a:outerShdw blurRad="342900" dist="114300" dir="2700000" algn="tl" rotWithShape="0">
              <a:srgbClr val="000000">
                <a:alpha val="30980"/>
              </a:srgbClr>
            </a:outerShdw>
          </a:effectLst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1" name="Рисунок 21">
            <a:extLst>
              <a:ext uri="{FF2B5EF4-FFF2-40B4-BE49-F238E27FC236}">
                <a16:creationId xmlns:a16="http://schemas.microsoft.com/office/drawing/2014/main" id="{D48C7C90-CD98-4D00-8F58-3DFE15D1F7E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20589" y="1435154"/>
            <a:ext cx="2200456" cy="4779909"/>
          </a:xfrm>
          <a:custGeom>
            <a:avLst/>
            <a:gdLst>
              <a:gd name="connsiteX0" fmla="*/ 394614 w 1920529"/>
              <a:gd name="connsiteY0" fmla="*/ 295 h 4171841"/>
              <a:gd name="connsiteX1" fmla="*/ 433387 w 1920529"/>
              <a:gd name="connsiteY1" fmla="*/ 32559 h 4171841"/>
              <a:gd name="connsiteX2" fmla="*/ 439896 w 1920529"/>
              <a:gd name="connsiteY2" fmla="*/ 66237 h 4171841"/>
              <a:gd name="connsiteX3" fmla="*/ 496498 w 1920529"/>
              <a:gd name="connsiteY3" fmla="*/ 136991 h 4171841"/>
              <a:gd name="connsiteX4" fmla="*/ 622911 w 1920529"/>
              <a:gd name="connsiteY4" fmla="*/ 165009 h 4171841"/>
              <a:gd name="connsiteX5" fmla="*/ 1301480 w 1920529"/>
              <a:gd name="connsiteY5" fmla="*/ 165009 h 4171841"/>
              <a:gd name="connsiteX6" fmla="*/ 1413082 w 1920529"/>
              <a:gd name="connsiteY6" fmla="*/ 142934 h 4171841"/>
              <a:gd name="connsiteX7" fmla="*/ 1487325 w 1920529"/>
              <a:gd name="connsiteY7" fmla="*/ 46427 h 4171841"/>
              <a:gd name="connsiteX8" fmla="*/ 1541191 w 1920529"/>
              <a:gd name="connsiteY8" fmla="*/ 295 h 4171841"/>
              <a:gd name="connsiteX9" fmla="*/ 1690244 w 1920529"/>
              <a:gd name="connsiteY9" fmla="*/ 484 h 4171841"/>
              <a:gd name="connsiteX10" fmla="*/ 1809864 w 1920529"/>
              <a:gd name="connsiteY10" fmla="*/ 27182 h 4171841"/>
              <a:gd name="connsiteX11" fmla="*/ 1912599 w 1920529"/>
              <a:gd name="connsiteY11" fmla="*/ 180480 h 4171841"/>
              <a:gd name="connsiteX12" fmla="*/ 1920145 w 1920529"/>
              <a:gd name="connsiteY12" fmla="*/ 329062 h 4171841"/>
              <a:gd name="connsiteX13" fmla="*/ 1920428 w 1920529"/>
              <a:gd name="connsiteY13" fmla="*/ 2963247 h 4171841"/>
              <a:gd name="connsiteX14" fmla="*/ 1920334 w 1920529"/>
              <a:gd name="connsiteY14" fmla="*/ 3268147 h 4171841"/>
              <a:gd name="connsiteX15" fmla="*/ 1917409 w 1920529"/>
              <a:gd name="connsiteY15" fmla="*/ 3893887 h 4171841"/>
              <a:gd name="connsiteX16" fmla="*/ 1912881 w 1920529"/>
              <a:gd name="connsiteY16" fmla="*/ 4001431 h 4171841"/>
              <a:gd name="connsiteX17" fmla="*/ 1766092 w 1920529"/>
              <a:gd name="connsiteY17" fmla="*/ 4161993 h 4171841"/>
              <a:gd name="connsiteX18" fmla="*/ 1675246 w 1920529"/>
              <a:gd name="connsiteY18" fmla="*/ 4171427 h 4171841"/>
              <a:gd name="connsiteX19" fmla="*/ 246976 w 1920529"/>
              <a:gd name="connsiteY19" fmla="*/ 4171616 h 4171841"/>
              <a:gd name="connsiteX20" fmla="*/ 125186 w 1920529"/>
              <a:gd name="connsiteY20" fmla="*/ 4153787 h 4171841"/>
              <a:gd name="connsiteX21" fmla="*/ 43867 w 1920529"/>
              <a:gd name="connsiteY21" fmla="*/ 4090297 h 4171841"/>
              <a:gd name="connsiteX22" fmla="*/ 6604 w 1920529"/>
              <a:gd name="connsiteY22" fmla="*/ 3969451 h 4171841"/>
              <a:gd name="connsiteX23" fmla="*/ 0 w 1920529"/>
              <a:gd name="connsiteY23" fmla="*/ 2066664 h 4171841"/>
              <a:gd name="connsiteX24" fmla="*/ 2170 w 1920529"/>
              <a:gd name="connsiteY24" fmla="*/ 2066664 h 4171841"/>
              <a:gd name="connsiteX25" fmla="*/ 2548 w 1920529"/>
              <a:gd name="connsiteY25" fmla="*/ 303685 h 4171841"/>
              <a:gd name="connsiteX26" fmla="*/ 11321 w 1920529"/>
              <a:gd name="connsiteY26" fmla="*/ 171330 h 4171841"/>
              <a:gd name="connsiteX27" fmla="*/ 181695 w 1920529"/>
              <a:gd name="connsiteY27" fmla="*/ 5107 h 4171841"/>
              <a:gd name="connsiteX28" fmla="*/ 252447 w 1920529"/>
              <a:gd name="connsiteY28" fmla="*/ 484 h 4171841"/>
              <a:gd name="connsiteX29" fmla="*/ 394614 w 1920529"/>
              <a:gd name="connsiteY29" fmla="*/ 295 h 4171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920529" h="4171841">
                <a:moveTo>
                  <a:pt x="394614" y="295"/>
                </a:moveTo>
                <a:cubicBezTo>
                  <a:pt x="420934" y="484"/>
                  <a:pt x="428009" y="6805"/>
                  <a:pt x="433387" y="32559"/>
                </a:cubicBezTo>
                <a:cubicBezTo>
                  <a:pt x="435651" y="43786"/>
                  <a:pt x="437538" y="55106"/>
                  <a:pt x="439896" y="66237"/>
                </a:cubicBezTo>
                <a:cubicBezTo>
                  <a:pt x="446972" y="99161"/>
                  <a:pt x="466688" y="121897"/>
                  <a:pt x="496498" y="136991"/>
                </a:cubicBezTo>
                <a:cubicBezTo>
                  <a:pt x="536308" y="157085"/>
                  <a:pt x="579044" y="164820"/>
                  <a:pt x="622911" y="165009"/>
                </a:cubicBezTo>
                <a:cubicBezTo>
                  <a:pt x="849132" y="165574"/>
                  <a:pt x="1075353" y="165480"/>
                  <a:pt x="1301480" y="165009"/>
                </a:cubicBezTo>
                <a:cubicBezTo>
                  <a:pt x="1339782" y="164915"/>
                  <a:pt x="1377233" y="158027"/>
                  <a:pt x="1413082" y="142934"/>
                </a:cubicBezTo>
                <a:cubicBezTo>
                  <a:pt x="1456571" y="124633"/>
                  <a:pt x="1480627" y="92841"/>
                  <a:pt x="1487325" y="46427"/>
                </a:cubicBezTo>
                <a:cubicBezTo>
                  <a:pt x="1493740" y="1994"/>
                  <a:pt x="1496382" y="295"/>
                  <a:pt x="1541191" y="295"/>
                </a:cubicBezTo>
                <a:cubicBezTo>
                  <a:pt x="1590907" y="295"/>
                  <a:pt x="1640529" y="-82"/>
                  <a:pt x="1690244" y="484"/>
                </a:cubicBezTo>
                <a:cubicBezTo>
                  <a:pt x="1731848" y="956"/>
                  <a:pt x="1772696" y="6994"/>
                  <a:pt x="1809864" y="27182"/>
                </a:cubicBezTo>
                <a:cubicBezTo>
                  <a:pt x="1870713" y="60200"/>
                  <a:pt x="1905711" y="111991"/>
                  <a:pt x="1912599" y="180480"/>
                </a:cubicBezTo>
                <a:cubicBezTo>
                  <a:pt x="1917598" y="229724"/>
                  <a:pt x="1920145" y="279534"/>
                  <a:pt x="1920145" y="329062"/>
                </a:cubicBezTo>
                <a:cubicBezTo>
                  <a:pt x="1920523" y="1207155"/>
                  <a:pt x="1920428" y="2085155"/>
                  <a:pt x="1920428" y="2963247"/>
                </a:cubicBezTo>
                <a:cubicBezTo>
                  <a:pt x="1920428" y="3064849"/>
                  <a:pt x="1920711" y="3166544"/>
                  <a:pt x="1920334" y="3268147"/>
                </a:cubicBezTo>
                <a:cubicBezTo>
                  <a:pt x="1919579" y="3476726"/>
                  <a:pt x="1918730" y="3685306"/>
                  <a:pt x="1917409" y="3893887"/>
                </a:cubicBezTo>
                <a:cubicBezTo>
                  <a:pt x="1917221" y="3929735"/>
                  <a:pt x="1915334" y="3965677"/>
                  <a:pt x="1912881" y="4001431"/>
                </a:cubicBezTo>
                <a:cubicBezTo>
                  <a:pt x="1907410" y="4080204"/>
                  <a:pt x="1847789" y="4146145"/>
                  <a:pt x="1766092" y="4161993"/>
                </a:cubicBezTo>
                <a:cubicBezTo>
                  <a:pt x="1736281" y="4167749"/>
                  <a:pt x="1705528" y="4171333"/>
                  <a:pt x="1675246" y="4171427"/>
                </a:cubicBezTo>
                <a:cubicBezTo>
                  <a:pt x="1199124" y="4171994"/>
                  <a:pt x="723097" y="4171900"/>
                  <a:pt x="246976" y="4171616"/>
                </a:cubicBezTo>
                <a:cubicBezTo>
                  <a:pt x="205750" y="4171616"/>
                  <a:pt x="164808" y="4166805"/>
                  <a:pt x="125186" y="4153787"/>
                </a:cubicBezTo>
                <a:cubicBezTo>
                  <a:pt x="90281" y="4142371"/>
                  <a:pt x="63207" y="4121335"/>
                  <a:pt x="43867" y="4090297"/>
                </a:cubicBezTo>
                <a:cubicBezTo>
                  <a:pt x="20849" y="4053317"/>
                  <a:pt x="6698" y="4013978"/>
                  <a:pt x="6604" y="3969451"/>
                </a:cubicBezTo>
                <a:cubicBezTo>
                  <a:pt x="4623" y="3335126"/>
                  <a:pt x="2264" y="2700895"/>
                  <a:pt x="0" y="2066664"/>
                </a:cubicBezTo>
                <a:cubicBezTo>
                  <a:pt x="755" y="2066664"/>
                  <a:pt x="1510" y="2066664"/>
                  <a:pt x="2170" y="2066664"/>
                </a:cubicBezTo>
                <a:cubicBezTo>
                  <a:pt x="2170" y="1479036"/>
                  <a:pt x="1981" y="891314"/>
                  <a:pt x="2548" y="303685"/>
                </a:cubicBezTo>
                <a:cubicBezTo>
                  <a:pt x="2548" y="259535"/>
                  <a:pt x="5944" y="215102"/>
                  <a:pt x="11321" y="171330"/>
                </a:cubicBezTo>
                <a:cubicBezTo>
                  <a:pt x="23679" y="71710"/>
                  <a:pt x="102829" y="15107"/>
                  <a:pt x="181695" y="5107"/>
                </a:cubicBezTo>
                <a:cubicBezTo>
                  <a:pt x="205090" y="2182"/>
                  <a:pt x="228863" y="768"/>
                  <a:pt x="252447" y="484"/>
                </a:cubicBezTo>
                <a:cubicBezTo>
                  <a:pt x="299805" y="-270"/>
                  <a:pt x="347256" y="13"/>
                  <a:pt x="394614" y="295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271465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онлайн-кла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F872D83B-9F67-43CD-A259-38D41C4292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177" y="2078515"/>
            <a:ext cx="5158694" cy="3024821"/>
          </a:xfrm>
          <a:prstGeom prst="rect">
            <a:avLst/>
          </a:prstGeom>
        </p:spPr>
      </p:pic>
      <p:sp>
        <p:nvSpPr>
          <p:cNvPr id="10" name="Рисунок 10">
            <a:extLst>
              <a:ext uri="{FF2B5EF4-FFF2-40B4-BE49-F238E27FC236}">
                <a16:creationId xmlns:a16="http://schemas.microsoft.com/office/drawing/2014/main" id="{95D247D2-83AF-4DB7-BBBE-5F11EF9958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91275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Рисунок 10">
            <a:extLst>
              <a:ext uri="{FF2B5EF4-FFF2-40B4-BE49-F238E27FC236}">
                <a16:creationId xmlns:a16="http://schemas.microsoft.com/office/drawing/2014/main" id="{F6C1A6F8-E482-4CD3-B793-FB37F40D25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83550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2" name="Рисунок 10">
            <a:extLst>
              <a:ext uri="{FF2B5EF4-FFF2-40B4-BE49-F238E27FC236}">
                <a16:creationId xmlns:a16="http://schemas.microsoft.com/office/drawing/2014/main" id="{14172962-67DB-49D3-B3D9-994E0D24582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778206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3" name="Рисунок 10">
            <a:extLst>
              <a:ext uri="{FF2B5EF4-FFF2-40B4-BE49-F238E27FC236}">
                <a16:creationId xmlns:a16="http://schemas.microsoft.com/office/drawing/2014/main" id="{ABC80502-55AA-425A-A0D5-5AB24ACACD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91275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4" name="Рисунок 10">
            <a:extLst>
              <a:ext uri="{FF2B5EF4-FFF2-40B4-BE49-F238E27FC236}">
                <a16:creationId xmlns:a16="http://schemas.microsoft.com/office/drawing/2014/main" id="{B4385FE8-FF45-4D1A-A3A6-BD013E519AC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83550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5" name="Рисунок 10">
            <a:extLst>
              <a:ext uri="{FF2B5EF4-FFF2-40B4-BE49-F238E27FC236}">
                <a16:creationId xmlns:a16="http://schemas.microsoft.com/office/drawing/2014/main" id="{2C5D671B-ADA7-4ED6-BFE9-E0713373896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78206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6" name="Рисунок 10">
            <a:extLst>
              <a:ext uri="{FF2B5EF4-FFF2-40B4-BE49-F238E27FC236}">
                <a16:creationId xmlns:a16="http://schemas.microsoft.com/office/drawing/2014/main" id="{BA0C9B24-D7DB-47FE-AC55-D65EF4D832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91275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7" name="Рисунок 10">
            <a:extLst>
              <a:ext uri="{FF2B5EF4-FFF2-40B4-BE49-F238E27FC236}">
                <a16:creationId xmlns:a16="http://schemas.microsoft.com/office/drawing/2014/main" id="{B08A2850-6739-4559-B58D-9D7A351CE64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83550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8" name="Рисунок 10">
            <a:extLst>
              <a:ext uri="{FF2B5EF4-FFF2-40B4-BE49-F238E27FC236}">
                <a16:creationId xmlns:a16="http://schemas.microsoft.com/office/drawing/2014/main" id="{0D21383A-808B-4C97-9A6F-83EE82AF228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778206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1287740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онлайн-класс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F872D83B-9F67-43CD-A259-38D41C4292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177" y="2078515"/>
            <a:ext cx="5158694" cy="3024821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CE9E0BF2-5738-4018-ABD3-24A059B08F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91276" y="2134253"/>
            <a:ext cx="5029697" cy="2872836"/>
          </a:xfrm>
          <a:custGeom>
            <a:avLst/>
            <a:gdLst>
              <a:gd name="connsiteX0" fmla="*/ 3386931 w 5029697"/>
              <a:gd name="connsiteY0" fmla="*/ 1950245 h 2872836"/>
              <a:gd name="connsiteX1" fmla="*/ 5029697 w 5029697"/>
              <a:gd name="connsiteY1" fmla="*/ 1950245 h 2872836"/>
              <a:gd name="connsiteX2" fmla="*/ 5029697 w 5029697"/>
              <a:gd name="connsiteY2" fmla="*/ 2872836 h 2872836"/>
              <a:gd name="connsiteX3" fmla="*/ 3386931 w 5029697"/>
              <a:gd name="connsiteY3" fmla="*/ 2872836 h 2872836"/>
              <a:gd name="connsiteX4" fmla="*/ 1692275 w 5029697"/>
              <a:gd name="connsiteY4" fmla="*/ 1950245 h 2872836"/>
              <a:gd name="connsiteX5" fmla="*/ 3335041 w 5029697"/>
              <a:gd name="connsiteY5" fmla="*/ 1950245 h 2872836"/>
              <a:gd name="connsiteX6" fmla="*/ 3335041 w 5029697"/>
              <a:gd name="connsiteY6" fmla="*/ 2872836 h 2872836"/>
              <a:gd name="connsiteX7" fmla="*/ 1692275 w 5029697"/>
              <a:gd name="connsiteY7" fmla="*/ 2872836 h 2872836"/>
              <a:gd name="connsiteX8" fmla="*/ 0 w 5029697"/>
              <a:gd name="connsiteY8" fmla="*/ 1950245 h 2872836"/>
              <a:gd name="connsiteX9" fmla="*/ 1642766 w 5029697"/>
              <a:gd name="connsiteY9" fmla="*/ 1950245 h 2872836"/>
              <a:gd name="connsiteX10" fmla="*/ 1642766 w 5029697"/>
              <a:gd name="connsiteY10" fmla="*/ 2872836 h 2872836"/>
              <a:gd name="connsiteX11" fmla="*/ 0 w 5029697"/>
              <a:gd name="connsiteY11" fmla="*/ 2872836 h 2872836"/>
              <a:gd name="connsiteX12" fmla="*/ 3386931 w 5029697"/>
              <a:gd name="connsiteY12" fmla="*/ 971551 h 2872836"/>
              <a:gd name="connsiteX13" fmla="*/ 5029697 w 5029697"/>
              <a:gd name="connsiteY13" fmla="*/ 971551 h 2872836"/>
              <a:gd name="connsiteX14" fmla="*/ 5029697 w 5029697"/>
              <a:gd name="connsiteY14" fmla="*/ 1894142 h 2872836"/>
              <a:gd name="connsiteX15" fmla="*/ 3386931 w 5029697"/>
              <a:gd name="connsiteY15" fmla="*/ 1894142 h 2872836"/>
              <a:gd name="connsiteX16" fmla="*/ 1692275 w 5029697"/>
              <a:gd name="connsiteY16" fmla="*/ 971551 h 2872836"/>
              <a:gd name="connsiteX17" fmla="*/ 3335041 w 5029697"/>
              <a:gd name="connsiteY17" fmla="*/ 971551 h 2872836"/>
              <a:gd name="connsiteX18" fmla="*/ 3335041 w 5029697"/>
              <a:gd name="connsiteY18" fmla="*/ 1894142 h 2872836"/>
              <a:gd name="connsiteX19" fmla="*/ 1692275 w 5029697"/>
              <a:gd name="connsiteY19" fmla="*/ 1894142 h 2872836"/>
              <a:gd name="connsiteX20" fmla="*/ 0 w 5029697"/>
              <a:gd name="connsiteY20" fmla="*/ 971551 h 2872836"/>
              <a:gd name="connsiteX21" fmla="*/ 1642766 w 5029697"/>
              <a:gd name="connsiteY21" fmla="*/ 971551 h 2872836"/>
              <a:gd name="connsiteX22" fmla="*/ 1642766 w 5029697"/>
              <a:gd name="connsiteY22" fmla="*/ 1894142 h 2872836"/>
              <a:gd name="connsiteX23" fmla="*/ 0 w 5029697"/>
              <a:gd name="connsiteY23" fmla="*/ 1894142 h 2872836"/>
              <a:gd name="connsiteX24" fmla="*/ 3386931 w 5029697"/>
              <a:gd name="connsiteY24" fmla="*/ 0 h 2872836"/>
              <a:gd name="connsiteX25" fmla="*/ 5029697 w 5029697"/>
              <a:gd name="connsiteY25" fmla="*/ 0 h 2872836"/>
              <a:gd name="connsiteX26" fmla="*/ 5029697 w 5029697"/>
              <a:gd name="connsiteY26" fmla="*/ 922591 h 2872836"/>
              <a:gd name="connsiteX27" fmla="*/ 3386931 w 5029697"/>
              <a:gd name="connsiteY27" fmla="*/ 922591 h 2872836"/>
              <a:gd name="connsiteX28" fmla="*/ 1692275 w 5029697"/>
              <a:gd name="connsiteY28" fmla="*/ 0 h 2872836"/>
              <a:gd name="connsiteX29" fmla="*/ 3335041 w 5029697"/>
              <a:gd name="connsiteY29" fmla="*/ 0 h 2872836"/>
              <a:gd name="connsiteX30" fmla="*/ 3335041 w 5029697"/>
              <a:gd name="connsiteY30" fmla="*/ 922591 h 2872836"/>
              <a:gd name="connsiteX31" fmla="*/ 1692275 w 5029697"/>
              <a:gd name="connsiteY31" fmla="*/ 922591 h 2872836"/>
              <a:gd name="connsiteX32" fmla="*/ 0 w 5029697"/>
              <a:gd name="connsiteY32" fmla="*/ 0 h 2872836"/>
              <a:gd name="connsiteX33" fmla="*/ 1642766 w 5029697"/>
              <a:gd name="connsiteY33" fmla="*/ 0 h 2872836"/>
              <a:gd name="connsiteX34" fmla="*/ 1642766 w 5029697"/>
              <a:gd name="connsiteY34" fmla="*/ 922591 h 2872836"/>
              <a:gd name="connsiteX35" fmla="*/ 0 w 5029697"/>
              <a:gd name="connsiteY35" fmla="*/ 922591 h 2872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029697" h="2872836">
                <a:moveTo>
                  <a:pt x="3386931" y="1950245"/>
                </a:moveTo>
                <a:lnTo>
                  <a:pt x="5029697" y="1950245"/>
                </a:lnTo>
                <a:lnTo>
                  <a:pt x="5029697" y="2872836"/>
                </a:lnTo>
                <a:lnTo>
                  <a:pt x="3386931" y="2872836"/>
                </a:lnTo>
                <a:close/>
                <a:moveTo>
                  <a:pt x="1692275" y="1950245"/>
                </a:moveTo>
                <a:lnTo>
                  <a:pt x="3335041" y="1950245"/>
                </a:lnTo>
                <a:lnTo>
                  <a:pt x="3335041" y="2872836"/>
                </a:lnTo>
                <a:lnTo>
                  <a:pt x="1692275" y="2872836"/>
                </a:lnTo>
                <a:close/>
                <a:moveTo>
                  <a:pt x="0" y="1950245"/>
                </a:moveTo>
                <a:lnTo>
                  <a:pt x="1642766" y="1950245"/>
                </a:lnTo>
                <a:lnTo>
                  <a:pt x="1642766" y="2872836"/>
                </a:lnTo>
                <a:lnTo>
                  <a:pt x="0" y="2872836"/>
                </a:lnTo>
                <a:close/>
                <a:moveTo>
                  <a:pt x="3386931" y="971551"/>
                </a:moveTo>
                <a:lnTo>
                  <a:pt x="5029697" y="971551"/>
                </a:lnTo>
                <a:lnTo>
                  <a:pt x="5029697" y="1894142"/>
                </a:lnTo>
                <a:lnTo>
                  <a:pt x="3386931" y="1894142"/>
                </a:lnTo>
                <a:close/>
                <a:moveTo>
                  <a:pt x="1692275" y="971551"/>
                </a:moveTo>
                <a:lnTo>
                  <a:pt x="3335041" y="971551"/>
                </a:lnTo>
                <a:lnTo>
                  <a:pt x="3335041" y="1894142"/>
                </a:lnTo>
                <a:lnTo>
                  <a:pt x="1692275" y="1894142"/>
                </a:lnTo>
                <a:close/>
                <a:moveTo>
                  <a:pt x="0" y="971551"/>
                </a:moveTo>
                <a:lnTo>
                  <a:pt x="1642766" y="971551"/>
                </a:lnTo>
                <a:lnTo>
                  <a:pt x="1642766" y="1894142"/>
                </a:lnTo>
                <a:lnTo>
                  <a:pt x="0" y="1894142"/>
                </a:lnTo>
                <a:close/>
                <a:moveTo>
                  <a:pt x="3386931" y="0"/>
                </a:moveTo>
                <a:lnTo>
                  <a:pt x="5029697" y="0"/>
                </a:lnTo>
                <a:lnTo>
                  <a:pt x="5029697" y="922591"/>
                </a:lnTo>
                <a:lnTo>
                  <a:pt x="3386931" y="922591"/>
                </a:lnTo>
                <a:close/>
                <a:moveTo>
                  <a:pt x="1692275" y="0"/>
                </a:moveTo>
                <a:lnTo>
                  <a:pt x="3335041" y="0"/>
                </a:lnTo>
                <a:lnTo>
                  <a:pt x="3335041" y="922591"/>
                </a:lnTo>
                <a:lnTo>
                  <a:pt x="1692275" y="922591"/>
                </a:lnTo>
                <a:close/>
                <a:moveTo>
                  <a:pt x="0" y="0"/>
                </a:moveTo>
                <a:lnTo>
                  <a:pt x="1642766" y="0"/>
                </a:lnTo>
                <a:lnTo>
                  <a:pt x="1642766" y="922591"/>
                </a:lnTo>
                <a:lnTo>
                  <a:pt x="0" y="922591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1115092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2445A4-9D8F-478E-A168-02E48382C3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3724273"/>
            <a:ext cx="12192001" cy="2620963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4043983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5503759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48B135D9-385B-4767-9EDC-E2C1057E95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5802484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0559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 и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41F6637E-FA25-4ED5-9B39-BB5355F469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1292663"/>
            <a:ext cx="5003800" cy="4304219"/>
          </a:xfrm>
          <a:custGeom>
            <a:avLst/>
            <a:gdLst>
              <a:gd name="connsiteX0" fmla="*/ 0 w 5003800"/>
              <a:gd name="connsiteY0" fmla="*/ 0 h 4304219"/>
              <a:gd name="connsiteX1" fmla="*/ 4945478 w 5003800"/>
              <a:gd name="connsiteY1" fmla="*/ 0 h 4304219"/>
              <a:gd name="connsiteX2" fmla="*/ 5003800 w 5003800"/>
              <a:gd name="connsiteY2" fmla="*/ 58322 h 4304219"/>
              <a:gd name="connsiteX3" fmla="*/ 5003800 w 5003800"/>
              <a:gd name="connsiteY3" fmla="*/ 4245897 h 4304219"/>
              <a:gd name="connsiteX4" fmla="*/ 4945478 w 5003800"/>
              <a:gd name="connsiteY4" fmla="*/ 4304219 h 4304219"/>
              <a:gd name="connsiteX5" fmla="*/ 0 w 5003800"/>
              <a:gd name="connsiteY5" fmla="*/ 4304219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03800" h="4304219">
                <a:moveTo>
                  <a:pt x="0" y="0"/>
                </a:moveTo>
                <a:lnTo>
                  <a:pt x="4945478" y="0"/>
                </a:lnTo>
                <a:cubicBezTo>
                  <a:pt x="4977688" y="0"/>
                  <a:pt x="5003800" y="26112"/>
                  <a:pt x="5003800" y="58322"/>
                </a:cubicBezTo>
                <a:lnTo>
                  <a:pt x="5003800" y="4245897"/>
                </a:lnTo>
                <a:cubicBezTo>
                  <a:pt x="5003800" y="4278107"/>
                  <a:pt x="4977688" y="4304219"/>
                  <a:pt x="4945478" y="4304219"/>
                </a:cubicBezTo>
                <a:lnTo>
                  <a:pt x="0" y="4304219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473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 и тексто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5045974-98BC-4F9A-898B-5BB22DDB34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94988" y="1292662"/>
            <a:ext cx="5001012" cy="4304219"/>
          </a:xfrm>
          <a:custGeom>
            <a:avLst/>
            <a:gdLst>
              <a:gd name="connsiteX0" fmla="*/ 58322 w 5001012"/>
              <a:gd name="connsiteY0" fmla="*/ 0 h 4304219"/>
              <a:gd name="connsiteX1" fmla="*/ 5001012 w 5001012"/>
              <a:gd name="connsiteY1" fmla="*/ 0 h 4304219"/>
              <a:gd name="connsiteX2" fmla="*/ 5001012 w 5001012"/>
              <a:gd name="connsiteY2" fmla="*/ 1 h 4304219"/>
              <a:gd name="connsiteX3" fmla="*/ 5001012 w 5001012"/>
              <a:gd name="connsiteY3" fmla="*/ 4304219 h 4304219"/>
              <a:gd name="connsiteX4" fmla="*/ 58322 w 5001012"/>
              <a:gd name="connsiteY4" fmla="*/ 4304219 h 4304219"/>
              <a:gd name="connsiteX5" fmla="*/ 0 w 5001012"/>
              <a:gd name="connsiteY5" fmla="*/ 4245897 h 4304219"/>
              <a:gd name="connsiteX6" fmla="*/ 0 w 5001012"/>
              <a:gd name="connsiteY6" fmla="*/ 58322 h 4304219"/>
              <a:gd name="connsiteX7" fmla="*/ 58322 w 5001012"/>
              <a:gd name="connsiteY7" fmla="*/ 0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1012" h="4304219">
                <a:moveTo>
                  <a:pt x="58322" y="0"/>
                </a:moveTo>
                <a:lnTo>
                  <a:pt x="5001012" y="0"/>
                </a:lnTo>
                <a:lnTo>
                  <a:pt x="5001012" y="1"/>
                </a:lnTo>
                <a:lnTo>
                  <a:pt x="5001012" y="4304219"/>
                </a:lnTo>
                <a:lnTo>
                  <a:pt x="58322" y="4304219"/>
                </a:lnTo>
                <a:cubicBezTo>
                  <a:pt x="26112" y="4304219"/>
                  <a:pt x="0" y="4278107"/>
                  <a:pt x="0" y="4245897"/>
                </a:cubicBezTo>
                <a:lnTo>
                  <a:pt x="0" y="58322"/>
                </a:lnTo>
                <a:cubicBezTo>
                  <a:pt x="0" y="26112"/>
                  <a:pt x="26112" y="0"/>
                  <a:pt x="58322" y="0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109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9063BE5-C071-41FD-B46E-66E593A011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92201" y="1292662"/>
            <a:ext cx="10007600" cy="4333523"/>
          </a:xfrm>
          <a:prstGeom prst="roundRect">
            <a:avLst>
              <a:gd name="adj" fmla="val 1281"/>
            </a:avLst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8532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E59C2CC-921F-4753-9DC7-FC2BE6957830}"/>
              </a:ext>
            </a:extLst>
          </p:cNvPr>
          <p:cNvGrpSpPr/>
          <p:nvPr userDrawn="1"/>
        </p:nvGrpSpPr>
        <p:grpSpPr>
          <a:xfrm>
            <a:off x="5024978" y="3109229"/>
            <a:ext cx="2418064" cy="3748771"/>
            <a:chOff x="5024978" y="3109229"/>
            <a:chExt cx="2418064" cy="3748771"/>
          </a:xfrm>
        </p:grpSpPr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1CEA0B8-7D76-4D8C-8A78-FA3F5117AD1A}"/>
                </a:ext>
              </a:extLst>
            </p:cNvPr>
            <p:cNvSpPr/>
            <p:nvPr/>
          </p:nvSpPr>
          <p:spPr>
            <a:xfrm>
              <a:off x="5352638" y="3109229"/>
              <a:ext cx="2090404" cy="3748771"/>
            </a:xfrm>
            <a:prstGeom prst="parallelogram">
              <a:avLst>
                <a:gd name="adj" fmla="val 42841"/>
              </a:avLst>
            </a:prstGeom>
            <a:gradFill>
              <a:gsLst>
                <a:gs pos="0">
                  <a:schemeClr val="accent1">
                    <a:alpha val="40000"/>
                  </a:schemeClr>
                </a:gs>
                <a:gs pos="83000">
                  <a:schemeClr val="accent1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Parallelogram 8">
              <a:extLst>
                <a:ext uri="{FF2B5EF4-FFF2-40B4-BE49-F238E27FC236}">
                  <a16:creationId xmlns:a16="http://schemas.microsoft.com/office/drawing/2014/main" id="{BBF0B4BB-2F79-45A7-BD1C-2AB0ACFF25C0}"/>
                </a:ext>
              </a:extLst>
            </p:cNvPr>
            <p:cNvSpPr/>
            <p:nvPr/>
          </p:nvSpPr>
          <p:spPr>
            <a:xfrm>
              <a:off x="5024978" y="3109229"/>
              <a:ext cx="2090404" cy="3748771"/>
            </a:xfrm>
            <a:prstGeom prst="parallelogram">
              <a:avLst>
                <a:gd name="adj" fmla="val 43069"/>
              </a:avLst>
            </a:prstGeom>
            <a:gradFill>
              <a:gsLst>
                <a:gs pos="0">
                  <a:schemeClr val="accent1">
                    <a:alpha val="20000"/>
                  </a:schemeClr>
                </a:gs>
                <a:gs pos="63000">
                  <a:schemeClr val="accent1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B2E4D1C-5BCE-442C-A13D-F006CA583C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6607619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</p:spTree>
    <p:extLst>
      <p:ext uri="{BB962C8B-B14F-4D97-AF65-F5344CB8AC3E}">
        <p14:creationId xmlns:p14="http://schemas.microsoft.com/office/powerpoint/2010/main" val="4044381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able&#10;&#10;Description automatically generated">
            <a:extLst>
              <a:ext uri="{FF2B5EF4-FFF2-40B4-BE49-F238E27FC236}">
                <a16:creationId xmlns:a16="http://schemas.microsoft.com/office/drawing/2014/main" id="{FC411482-A01D-4D41-9049-435751A034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CD4A95A7-CC45-4AFB-96BE-6972E37907F7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52E7292-5408-4D63-A23B-9FAE93552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6607619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pic>
        <p:nvPicPr>
          <p:cNvPr id="9" name="Рисунок 3">
            <a:extLst>
              <a:ext uri="{FF2B5EF4-FFF2-40B4-BE49-F238E27FC236}">
                <a16:creationId xmlns:a16="http://schemas.microsoft.com/office/drawing/2014/main" id="{57AE9D31-0623-416B-A401-425C073177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322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436381B5-2874-4CCA-A61B-B4BDD05B9C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t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C0D8309-28B8-4E0E-B60C-F6DF2EAA12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446892"/>
            <a:ext cx="12192001" cy="457449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368F232-4EDA-4308-9BC4-CE2AD87F14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2850" y="1951038"/>
            <a:ext cx="4686300" cy="3323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Вопрос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3F6F0B4-EAF1-432E-AB16-AA9627F1D7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34740724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446892"/>
            <a:ext cx="12192000" cy="457449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t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4454E21-3345-4037-BC83-2B5871C342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446892"/>
            <a:ext cx="12192001" cy="457449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2850" y="750888"/>
            <a:ext cx="4686300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8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Вопрос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A159CEF-90A6-4569-9B57-0757D037C8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  <p:pic>
        <p:nvPicPr>
          <p:cNvPr id="2" name="Рисунок 3">
            <a:extLst>
              <a:ext uri="{FF2B5EF4-FFF2-40B4-BE49-F238E27FC236}">
                <a16:creationId xmlns:a16="http://schemas.microsoft.com/office/drawing/2014/main" id="{5C1EE6DC-1BC9-3BE1-5B1B-86B6270E0A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2875" y="498549"/>
            <a:ext cx="1541744" cy="471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0711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9">
            <a:extLst>
              <a:ext uri="{FF2B5EF4-FFF2-40B4-BE49-F238E27FC236}">
                <a16:creationId xmlns:a16="http://schemas.microsoft.com/office/drawing/2014/main" id="{5714FDBB-C50A-4F9F-A96C-17853B9D35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4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937" t="5444" r="16938" b="15134"/>
          <a:stretch/>
        </p:blipFill>
        <p:spPr>
          <a:xfrm>
            <a:off x="6745917" y="663073"/>
            <a:ext cx="5425440" cy="6194927"/>
          </a:xfrm>
          <a:prstGeom prst="rect">
            <a:avLst/>
          </a:prstGeom>
        </p:spPr>
      </p:pic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6E97C4FE-CB97-4C1E-B4C4-ECC5269A7C19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507CC24-3842-40FB-B371-67EEA4221B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21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A159CEF-90A6-4569-9B57-0757D037C8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  <p:pic>
        <p:nvPicPr>
          <p:cNvPr id="2" name="Рисунок 3">
            <a:extLst>
              <a:ext uri="{FF2B5EF4-FFF2-40B4-BE49-F238E27FC236}">
                <a16:creationId xmlns:a16="http://schemas.microsoft.com/office/drawing/2014/main" id="{4E0AB5F2-A45C-2A95-AD59-76955ACBBC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2875" y="498549"/>
            <a:ext cx="1541744" cy="471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3555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роткая фраза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D5F857E-104E-4CB8-9B97-DFEEBCDC77A5}"/>
              </a:ext>
            </a:extLst>
          </p:cNvPr>
          <p:cNvSpPr/>
          <p:nvPr userDrawn="1"/>
        </p:nvSpPr>
        <p:spPr>
          <a:xfrm>
            <a:off x="-1" y="1141753"/>
            <a:ext cx="7354754" cy="4574495"/>
          </a:xfrm>
          <a:custGeom>
            <a:avLst/>
            <a:gdLst>
              <a:gd name="connsiteX0" fmla="*/ 0 w 7354754"/>
              <a:gd name="connsiteY0" fmla="*/ 0 h 4574495"/>
              <a:gd name="connsiteX1" fmla="*/ 7354754 w 7354754"/>
              <a:gd name="connsiteY1" fmla="*/ 0 h 4574495"/>
              <a:gd name="connsiteX2" fmla="*/ 6256130 w 7354754"/>
              <a:gd name="connsiteY2" fmla="*/ 4574495 h 4574495"/>
              <a:gd name="connsiteX3" fmla="*/ 0 w 7354754"/>
              <a:gd name="connsiteY3" fmla="*/ 4574495 h 4574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54754" h="4574495">
                <a:moveTo>
                  <a:pt x="0" y="0"/>
                </a:moveTo>
                <a:lnTo>
                  <a:pt x="7354754" y="0"/>
                </a:lnTo>
                <a:lnTo>
                  <a:pt x="6256130" y="4574495"/>
                </a:lnTo>
                <a:lnTo>
                  <a:pt x="0" y="4574495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1" name="Рисунок 82">
            <a:extLst>
              <a:ext uri="{FF2B5EF4-FFF2-40B4-BE49-F238E27FC236}">
                <a16:creationId xmlns:a16="http://schemas.microsoft.com/office/drawing/2014/main" id="{C9CA1AE7-E8C7-4A85-8AFC-AD924F33D6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r="23520" b="35217"/>
          <a:stretch/>
        </p:blipFill>
        <p:spPr>
          <a:xfrm>
            <a:off x="3579971" y="2120900"/>
            <a:ext cx="3595042" cy="3721889"/>
          </a:xfrm>
          <a:prstGeom prst="rect">
            <a:avLst/>
          </a:prstGeom>
        </p:spPr>
      </p:pic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B2E4D1C-5BCE-442C-A13D-F006CA583C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10" name="Заголовок 6">
            <a:extLst>
              <a:ext uri="{FF2B5EF4-FFF2-40B4-BE49-F238E27FC236}">
                <a16:creationId xmlns:a16="http://schemas.microsoft.com/office/drawing/2014/main" id="{F586D425-74B3-4E43-B34F-1174306171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2875003"/>
            <a:ext cx="4889500" cy="1107996"/>
          </a:xfrm>
        </p:spPr>
        <p:txBody>
          <a:bodyPr anchor="ctr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Крупная короткая фраза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C067C3-07A2-49F7-98B6-8D64BBEE3E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400" y="2361099"/>
            <a:ext cx="488950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866F56C-B103-47FC-8B84-4F5467FF75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4168468"/>
            <a:ext cx="4889500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8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яснительный текст</a:t>
            </a:r>
          </a:p>
        </p:txBody>
      </p:sp>
      <p:pic>
        <p:nvPicPr>
          <p:cNvPr id="9" name="Рисунок 10">
            <a:extLst>
              <a:ext uri="{FF2B5EF4-FFF2-40B4-BE49-F238E27FC236}">
                <a16:creationId xmlns:a16="http://schemas.microsoft.com/office/drawing/2014/main" id="{B70289F3-2DD9-4378-BB81-B4F948A75F5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031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роткая фраза 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452E7292-5408-4D63-A23B-9FAE93552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1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40BE061-5F58-422F-A512-9463E3277201}"/>
              </a:ext>
            </a:extLst>
          </p:cNvPr>
          <p:cNvSpPr/>
          <p:nvPr userDrawn="1"/>
        </p:nvSpPr>
        <p:spPr>
          <a:xfrm>
            <a:off x="-1" y="1141753"/>
            <a:ext cx="12192000" cy="457449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59C1733-F1DE-4FBF-8EA8-C8FEE7948A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alphaModFix amt="36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705" t="21702" r="8705" b="6617"/>
          <a:stretch/>
        </p:blipFill>
        <p:spPr>
          <a:xfrm>
            <a:off x="21716" y="1141753"/>
            <a:ext cx="12192000" cy="4574495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cxnSp>
        <p:nvCxnSpPr>
          <p:cNvPr id="8" name="Прямая соединительная линия 5">
            <a:extLst>
              <a:ext uri="{FF2B5EF4-FFF2-40B4-BE49-F238E27FC236}">
                <a16:creationId xmlns:a16="http://schemas.microsoft.com/office/drawing/2014/main" id="{397FC5C2-F13C-4545-9772-EC697CBFC059}"/>
              </a:ext>
            </a:extLst>
          </p:cNvPr>
          <p:cNvCxnSpPr>
            <a:cxnSpLocks/>
          </p:cNvCxnSpPr>
          <p:nvPr userDrawn="1"/>
        </p:nvCxnSpPr>
        <p:spPr>
          <a:xfrm>
            <a:off x="658813" y="6697548"/>
            <a:ext cx="354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82">
            <a:extLst>
              <a:ext uri="{FF2B5EF4-FFF2-40B4-BE49-F238E27FC236}">
                <a16:creationId xmlns:a16="http://schemas.microsoft.com/office/drawing/2014/main" id="{69F71186-8403-4694-AD30-E0138038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" r="23520" b="35217"/>
          <a:stretch/>
        </p:blipFill>
        <p:spPr>
          <a:xfrm>
            <a:off x="8278116" y="1664267"/>
            <a:ext cx="3913884" cy="4051981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24A8AFAC-E4B3-4B1C-9D19-1914F6B0B6E4}"/>
              </a:ext>
            </a:extLst>
          </p:cNvPr>
          <p:cNvGrpSpPr/>
          <p:nvPr userDrawn="1"/>
        </p:nvGrpSpPr>
        <p:grpSpPr>
          <a:xfrm>
            <a:off x="-1" y="971550"/>
            <a:ext cx="12213717" cy="4914900"/>
            <a:chOff x="-1" y="958707"/>
            <a:chExt cx="12213717" cy="4914900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8EA4ED0F-1C60-4B2D-8732-019F0A5B55E6}"/>
                </a:ext>
              </a:extLst>
            </p:cNvPr>
            <p:cNvCxnSpPr/>
            <p:nvPr userDrawn="1"/>
          </p:nvCxnSpPr>
          <p:spPr>
            <a:xfrm>
              <a:off x="-1" y="958707"/>
              <a:ext cx="12213717" cy="0"/>
            </a:xfrm>
            <a:prstGeom prst="line">
              <a:avLst/>
            </a:prstGeom>
            <a:ln w="50800">
              <a:gradFill>
                <a:gsLst>
                  <a:gs pos="0">
                    <a:schemeClr val="accent6"/>
                  </a:gs>
                  <a:gs pos="100000">
                    <a:schemeClr val="accent6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623C465-EB69-451D-83EB-77C16C5C07E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" y="5873607"/>
              <a:ext cx="12213717" cy="0"/>
            </a:xfrm>
            <a:prstGeom prst="line">
              <a:avLst/>
            </a:prstGeom>
            <a:ln w="50800">
              <a:gradFill>
                <a:gsLst>
                  <a:gs pos="0">
                    <a:schemeClr val="accent6"/>
                  </a:gs>
                  <a:gs pos="100000">
                    <a:schemeClr val="accent6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Заголовок 6">
            <a:extLst>
              <a:ext uri="{FF2B5EF4-FFF2-40B4-BE49-F238E27FC236}">
                <a16:creationId xmlns:a16="http://schemas.microsoft.com/office/drawing/2014/main" id="{892C7CF8-ECA8-456D-8502-12A805011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4500" y="3172183"/>
            <a:ext cx="8763000" cy="1107996"/>
          </a:xfrm>
        </p:spPr>
        <p:txBody>
          <a:bodyPr anchor="ctr"/>
          <a:lstStyle>
            <a:lvl1pPr algn="ctr"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Крупная</a:t>
            </a:r>
            <a:br>
              <a:rPr lang="ru-RU"/>
            </a:br>
            <a:r>
              <a:rPr lang="ru-RU"/>
              <a:t>короткая фраза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CFAC486-CBF0-4911-B71D-B6454A7C14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43175" y="2658279"/>
            <a:ext cx="710565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52D4709-CFED-4B57-9602-F4092BAE5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43175" y="4465648"/>
            <a:ext cx="7105650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en-US" sz="18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яснительный текст</a:t>
            </a:r>
          </a:p>
        </p:txBody>
      </p:sp>
    </p:spTree>
    <p:extLst>
      <p:ext uri="{BB962C8B-B14F-4D97-AF65-F5344CB8AC3E}">
        <p14:creationId xmlns:p14="http://schemas.microsoft.com/office/powerpoint/2010/main" val="3820814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70742"/>
            <a:ext cx="12192000" cy="457449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7F340F0-E409-49B7-9AC5-F5257A7DCA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769331"/>
            <a:ext cx="12191997" cy="457590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3042500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480100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4502276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pic>
        <p:nvPicPr>
          <p:cNvPr id="7" name="Рисунок 10">
            <a:extLst>
              <a:ext uri="{FF2B5EF4-FFF2-40B4-BE49-F238E27FC236}">
                <a16:creationId xmlns:a16="http://schemas.microsoft.com/office/drawing/2014/main" id="{3B5A1B1D-A36C-4A54-973F-B661536641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6F0381E-3A97-48F7-BC89-D64B4BE07B0C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788B26EC-6BF9-41F6-A7D3-8CF19DC2F7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7296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D262FE5-846C-4B2F-923C-650BED95D931}"/>
              </a:ext>
            </a:extLst>
          </p:cNvPr>
          <p:cNvSpPr txBox="1"/>
          <p:nvPr userDrawn="1"/>
        </p:nvSpPr>
        <p:spPr>
          <a:xfrm>
            <a:off x="6234433" y="-2001"/>
            <a:ext cx="1295226" cy="30777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20000">
                <a:solidFill>
                  <a:schemeClr val="accent6"/>
                </a:soli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20000">
              <a:solidFill>
                <a:schemeClr val="accent6"/>
              </a:solidFill>
              <a:latin typeface="+mj-lt"/>
              <a:ea typeface="Euclid Circular A" panose="020B0504000000000000" pitchFamily="34" charset="-52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AFD724-3059-4751-BABB-102909D41311}"/>
              </a:ext>
            </a:extLst>
          </p:cNvPr>
          <p:cNvSpPr/>
          <p:nvPr userDrawn="1"/>
        </p:nvSpPr>
        <p:spPr>
          <a:xfrm>
            <a:off x="1482343" y="614861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62000"/>
                </a:schemeClr>
              </a:gs>
              <a:gs pos="97000">
                <a:schemeClr val="accent1">
                  <a:alpha val="0"/>
                </a:schemeClr>
              </a:gs>
            </a:gsLst>
            <a:lin ang="27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92200" y="907469"/>
            <a:ext cx="4535424" cy="5043062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7926" y="1756728"/>
            <a:ext cx="433748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83F5249-2463-46E3-B45E-777E64BB2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96480" y="5102216"/>
            <a:ext cx="359892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Имя автора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1545B6-DADB-4484-8C32-B3BB13B767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6480" y="5436324"/>
            <a:ext cx="3598926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160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pic>
        <p:nvPicPr>
          <p:cNvPr id="11" name="Рисунок 3">
            <a:extLst>
              <a:ext uri="{FF2B5EF4-FFF2-40B4-BE49-F238E27FC236}">
                <a16:creationId xmlns:a16="http://schemas.microsoft.com/office/drawing/2014/main" id="{765BAE9C-D077-4DB1-856B-4ADD4568DD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7792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Цитат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1BE783E3-777F-4411-9043-B5EF984FD393}"/>
              </a:ext>
            </a:extLst>
          </p:cNvPr>
          <p:cNvSpPr txBox="1"/>
          <p:nvPr userDrawn="1"/>
        </p:nvSpPr>
        <p:spPr>
          <a:xfrm>
            <a:off x="538548" y="314325"/>
            <a:ext cx="1865895" cy="443198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28800">
                <a:solidFill>
                  <a:schemeClr val="accent6">
                    <a:alpha val="12000"/>
                  </a:schemeClr>
                </a:soli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28800">
              <a:solidFill>
                <a:schemeClr val="accent6">
                  <a:alpha val="12000"/>
                </a:schemeClr>
              </a:solidFill>
              <a:latin typeface="+mj-lt"/>
              <a:ea typeface="Euclid Circular A" panose="020B0504000000000000" pitchFamily="34" charset="-52"/>
            </a:endParaRPr>
          </a:p>
        </p:txBody>
      </p:sp>
      <p:pic>
        <p:nvPicPr>
          <p:cNvPr id="13" name="Рисунок 3">
            <a:extLst>
              <a:ext uri="{FF2B5EF4-FFF2-40B4-BE49-F238E27FC236}">
                <a16:creationId xmlns:a16="http://schemas.microsoft.com/office/drawing/2014/main" id="{AF739445-B6C6-445E-8317-9EB641449F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495" y="311312"/>
            <a:ext cx="1176000" cy="360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3AFD724-3059-4751-BABB-102909D41311}"/>
              </a:ext>
            </a:extLst>
          </p:cNvPr>
          <p:cNvSpPr/>
          <p:nvPr userDrawn="1"/>
        </p:nvSpPr>
        <p:spPr>
          <a:xfrm>
            <a:off x="5619320" y="0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20000"/>
                </a:schemeClr>
              </a:gs>
              <a:gs pos="50000">
                <a:schemeClr val="accent1">
                  <a:alpha val="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8AE5D02-CB2E-4153-A775-5875A722BA6A}"/>
              </a:ext>
            </a:extLst>
          </p:cNvPr>
          <p:cNvSpPr/>
          <p:nvPr userDrawn="1"/>
        </p:nvSpPr>
        <p:spPr>
          <a:xfrm>
            <a:off x="6055540" y="0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20000"/>
                </a:schemeClr>
              </a:gs>
              <a:gs pos="63000">
                <a:schemeClr val="accent1">
                  <a:alpha val="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96230" y="0"/>
            <a:ext cx="579577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754112"/>
            <a:ext cx="4513405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6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83F5249-2463-46E3-B45E-777E64BB2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678" y="5102216"/>
            <a:ext cx="450626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Имя автора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1545B6-DADB-4484-8C32-B3BB13B767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678" y="5436324"/>
            <a:ext cx="450626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160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5865345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1882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строчка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</p:spTree>
    <p:extLst>
      <p:ext uri="{BB962C8B-B14F-4D97-AF65-F5344CB8AC3E}">
        <p14:creationId xmlns:p14="http://schemas.microsoft.com/office/powerpoint/2010/main" val="742546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2445A4-9D8F-478E-A168-02E48382C3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3724273"/>
            <a:ext cx="8137645" cy="2620963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4043983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5802484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5503759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3942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2445A4-9D8F-478E-A168-02E48382C3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3724273"/>
            <a:ext cx="12192001" cy="2620963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4043983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5802484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5503759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112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70742"/>
            <a:ext cx="12192000" cy="457449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7F340F0-E409-49B7-9AC5-F5257A7DCA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769331"/>
            <a:ext cx="12191997" cy="457590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3042500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480100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4502276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pic>
        <p:nvPicPr>
          <p:cNvPr id="7" name="Рисунок 10">
            <a:extLst>
              <a:ext uri="{FF2B5EF4-FFF2-40B4-BE49-F238E27FC236}">
                <a16:creationId xmlns:a16="http://schemas.microsoft.com/office/drawing/2014/main" id="{3B5A1B1D-A36C-4A54-973F-B661536641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6F0381E-3A97-48F7-BC89-D64B4BE07B0C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BB07ACCA-4174-4B3C-9C79-5C2EEF603F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6941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ал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021DBFA-2785-476F-BB4E-D29C3F5F83B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1341120"/>
            <a:ext cx="5646399" cy="1046633"/>
          </a:xfrm>
        </p:spPr>
        <p:txBody>
          <a:bodyPr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sz="3200" cap="all" baseline="0"/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pic>
        <p:nvPicPr>
          <p:cNvPr id="8" name="Рисунок 10">
            <a:extLst>
              <a:ext uri="{FF2B5EF4-FFF2-40B4-BE49-F238E27FC236}">
                <a16:creationId xmlns:a16="http://schemas.microsoft.com/office/drawing/2014/main" id="{BE2EF9DA-3A26-47F5-B74C-E4E8C6217A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1" name="Прямая соединительная линия 30">
            <a:extLst>
              <a:ext uri="{FF2B5EF4-FFF2-40B4-BE49-F238E27FC236}">
                <a16:creationId xmlns:a16="http://schemas.microsoft.com/office/drawing/2014/main" id="{917BE271-46E7-4DBA-A0CD-B80420923A7E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10FB9F3-ACA6-4B34-BBFF-8D6A1FBCD5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D750032-1C33-4722-ABFA-3C055341AB6A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F2D297F8-B114-4CAD-9727-DF0454521A3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4296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ало текста с фотографией на прозрачном фоне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561" y="3226252"/>
            <a:ext cx="5646399" cy="101566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2719750"/>
            <a:ext cx="5646399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800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050BB05-5048-49ED-8299-2B4E13DC7B05}"/>
              </a:ext>
            </a:extLst>
          </p:cNvPr>
          <p:cNvSpPr/>
          <p:nvPr userDrawn="1"/>
        </p:nvSpPr>
        <p:spPr>
          <a:xfrm>
            <a:off x="6854701" y="0"/>
            <a:ext cx="4953000" cy="6858000"/>
          </a:xfrm>
          <a:prstGeom prst="parallelogram">
            <a:avLst>
              <a:gd name="adj" fmla="val 33016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893646B-1B1A-4AF3-96AC-431E4DC9FC8C}"/>
              </a:ext>
            </a:extLst>
          </p:cNvPr>
          <p:cNvSpPr/>
          <p:nvPr userDrawn="1"/>
        </p:nvSpPr>
        <p:spPr>
          <a:xfrm rot="10800000">
            <a:off x="6679888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4B0E331-9DE8-4CDE-8EC8-AE3BDF142FB1}"/>
              </a:ext>
            </a:extLst>
          </p:cNvPr>
          <p:cNvSpPr/>
          <p:nvPr userDrawn="1"/>
        </p:nvSpPr>
        <p:spPr>
          <a:xfrm rot="10800000">
            <a:off x="9436100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accent1">
                  <a:alpha val="40000"/>
                </a:schemeClr>
              </a:gs>
              <a:gs pos="83000">
                <a:schemeClr val="accent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26D9F0BC-F3EF-40D6-ACE3-04CB7CE323AC}"/>
              </a:ext>
            </a:extLst>
          </p:cNvPr>
          <p:cNvSpPr/>
          <p:nvPr userDrawn="1"/>
        </p:nvSpPr>
        <p:spPr>
          <a:xfrm rot="10800000">
            <a:off x="9795973" y="0"/>
            <a:ext cx="2371601" cy="4253049"/>
          </a:xfrm>
          <a:prstGeom prst="parallelogram">
            <a:avLst>
              <a:gd name="adj" fmla="val 43069"/>
            </a:avLst>
          </a:prstGeom>
          <a:gradFill>
            <a:gsLst>
              <a:gs pos="0">
                <a:schemeClr val="accent1">
                  <a:alpha val="20000"/>
                </a:schemeClr>
              </a:gs>
              <a:gs pos="63000">
                <a:schemeClr val="accent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E305ED-1B42-46C9-AAD3-23868C01716F}"/>
              </a:ext>
            </a:extLst>
          </p:cNvPr>
          <p:cNvSpPr/>
          <p:nvPr userDrawn="1"/>
        </p:nvSpPr>
        <p:spPr>
          <a:xfrm>
            <a:off x="0" y="2694349"/>
            <a:ext cx="438150" cy="2634665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175C1BAA-F52A-4AC4-B31E-9E2FE68196FB}"/>
              </a:ext>
            </a:extLst>
          </p:cNvPr>
          <p:cNvSpPr/>
          <p:nvPr userDrawn="1"/>
        </p:nvSpPr>
        <p:spPr>
          <a:xfrm>
            <a:off x="9839803" y="2604951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F26E17-2DA5-4B8A-8A62-539DF9DF7346}"/>
              </a:ext>
            </a:extLst>
          </p:cNvPr>
          <p:cNvSpPr/>
          <p:nvPr userDrawn="1"/>
        </p:nvSpPr>
        <p:spPr>
          <a:xfrm>
            <a:off x="0" y="0"/>
            <a:ext cx="12192000" cy="72000"/>
          </a:xfrm>
          <a:prstGeom prst="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E70B1A3-E8AD-4745-B504-CF22EE6FB2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231566"/>
            <a:ext cx="5646399" cy="5787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4800"/>
              </a:lnSpc>
              <a:buNone/>
              <a:defRPr lang="en-US" sz="3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В две или три строки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BFE6F6F-2C5A-4EBD-94D9-A848AD5BB7A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48960" y="433951"/>
            <a:ext cx="4550840" cy="6424049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8FB3386-438F-4586-9B4C-D202D909F4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9137" y="495215"/>
            <a:ext cx="1567363" cy="47702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873D3B3-185C-4E02-A8C5-6D74EDB79CCA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74B8AC2F-957B-40AD-8662-E23599D0F2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8752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6032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4CE01FE9-9E94-4FEA-85AF-35135FE435B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7AF905-B7C7-4149-AB01-2B5A4925C2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2890391"/>
            <a:ext cx="5646399" cy="1077218"/>
          </a:xfrm>
        </p:spPr>
        <p:txBody>
          <a:bodyPr anchor="ctr"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lang="ru-RU" sz="40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pic>
        <p:nvPicPr>
          <p:cNvPr id="19" name="Рисунок 10">
            <a:extLst>
              <a:ext uri="{FF2B5EF4-FFF2-40B4-BE49-F238E27FC236}">
                <a16:creationId xmlns:a16="http://schemas.microsoft.com/office/drawing/2014/main" id="{79AFE90B-8D37-4666-8E5A-76CE3F4EBB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260D6C9-B406-4BBA-9EC3-81D39D754120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780D4B3C-FA94-4EE1-9A93-8078B466A0F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206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ал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021DBFA-2785-476F-BB4E-D29C3F5F83B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1341120"/>
            <a:ext cx="5646399" cy="1046633"/>
          </a:xfrm>
        </p:spPr>
        <p:txBody>
          <a:bodyPr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sz="3200" cap="all" baseline="0"/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pic>
        <p:nvPicPr>
          <p:cNvPr id="8" name="Рисунок 10">
            <a:extLst>
              <a:ext uri="{FF2B5EF4-FFF2-40B4-BE49-F238E27FC236}">
                <a16:creationId xmlns:a16="http://schemas.microsoft.com/office/drawing/2014/main" id="{BE2EF9DA-3A26-47F5-B74C-E4E8C6217A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1" name="Прямая соединительная линия 30">
            <a:extLst>
              <a:ext uri="{FF2B5EF4-FFF2-40B4-BE49-F238E27FC236}">
                <a16:creationId xmlns:a16="http://schemas.microsoft.com/office/drawing/2014/main" id="{917BE271-46E7-4DBA-A0CD-B80420923A7E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10FB9F3-ACA6-4B34-BBFF-8D6A1FBCD5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D750032-1C33-4722-ABFA-3C055341AB6A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D102867B-B32D-4068-9090-AA25172017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1293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icture containing table&#10;&#10;Description automatically generated">
            <a:extLst>
              <a:ext uri="{FF2B5EF4-FFF2-40B4-BE49-F238E27FC236}">
                <a16:creationId xmlns:a16="http://schemas.microsoft.com/office/drawing/2014/main" id="{CB1BA33C-C1F7-40A7-AEF5-CF9FB62DCD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22" name="Прямоугольник 2">
            <a:extLst>
              <a:ext uri="{FF2B5EF4-FFF2-40B4-BE49-F238E27FC236}">
                <a16:creationId xmlns:a16="http://schemas.microsoft.com/office/drawing/2014/main" id="{C8636BB8-0E4C-41F4-8743-4970E70B13A8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2D10374-6A79-4F0D-8864-2A0B42245C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10" name="Рамка 29">
            <a:extLst>
              <a:ext uri="{FF2B5EF4-FFF2-40B4-BE49-F238E27FC236}">
                <a16:creationId xmlns:a16="http://schemas.microsoft.com/office/drawing/2014/main" id="{F3866D87-E695-4F59-A63B-A269D94BB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2" name="Прямая соединительная линия 30">
            <a:extLst>
              <a:ext uri="{FF2B5EF4-FFF2-40B4-BE49-F238E27FC236}">
                <a16:creationId xmlns:a16="http://schemas.microsoft.com/office/drawing/2014/main" id="{498A6940-DBC4-46E6-B215-61E80287D227}"/>
              </a:ext>
            </a:extLst>
          </p:cNvPr>
          <p:cNvCxnSpPr>
            <a:cxnSpLocks/>
          </p:cNvCxnSpPr>
          <p:nvPr userDrawn="1"/>
        </p:nvCxnSpPr>
        <p:spPr>
          <a:xfrm>
            <a:off x="914400" y="137160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0">
            <a:extLst>
              <a:ext uri="{FF2B5EF4-FFF2-40B4-BE49-F238E27FC236}">
                <a16:creationId xmlns:a16="http://schemas.microsoft.com/office/drawing/2014/main" id="{A66DFED0-8284-42B7-9E23-C6C4D75747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8" y="2589454"/>
            <a:ext cx="5003982" cy="1046633"/>
          </a:xfrm>
        </p:spPr>
        <p:txBody>
          <a:bodyPr wrap="square" anchor="ctr"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sz="3200" cap="all" baseline="0"/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4961393"/>
            <a:ext cx="52598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2000" kern="1200" cap="all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10FB9F3-ACA6-4B34-BBFF-8D6A1FBCD5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5310641"/>
            <a:ext cx="5259821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400" kern="1200" dirty="0" smtClean="0">
                <a:solidFill>
                  <a:schemeClr val="bg2"/>
                </a:solidFill>
                <a:latin typeface="+mn-lt"/>
                <a:ea typeface="Euclid Circular A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622419E-C953-485E-9FEC-00B1B4F4D9E6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62ECB91-AF7A-4CCA-9BC4-DFF72D60E0C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208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без изображ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table&#10;&#10;Description automatically generated">
            <a:extLst>
              <a:ext uri="{FF2B5EF4-FFF2-40B4-BE49-F238E27FC236}">
                <a16:creationId xmlns:a16="http://schemas.microsoft.com/office/drawing/2014/main" id="{DB8F0A0E-4A01-4BC2-95D8-CC6D77F1A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18" name="Прямоугольник 2">
            <a:extLst>
              <a:ext uri="{FF2B5EF4-FFF2-40B4-BE49-F238E27FC236}">
                <a16:creationId xmlns:a16="http://schemas.microsoft.com/office/drawing/2014/main" id="{A165DB1E-F99F-4F5E-B9CF-BEE49A7D5268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8B40DDC-AF21-425F-9985-2CAA06499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4" name="Рамка 29">
            <a:extLst>
              <a:ext uri="{FF2B5EF4-FFF2-40B4-BE49-F238E27FC236}">
                <a16:creationId xmlns:a16="http://schemas.microsoft.com/office/drawing/2014/main" id="{0834A1E9-DEA2-4810-98C1-4864B91A12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30">
            <a:extLst>
              <a:ext uri="{FF2B5EF4-FFF2-40B4-BE49-F238E27FC236}">
                <a16:creationId xmlns:a16="http://schemas.microsoft.com/office/drawing/2014/main" id="{F132133A-891C-4552-A97F-33204B2F7CB0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D79935-82BE-423B-BC88-EC03A5F2D4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6466" y="1341120"/>
            <a:ext cx="50570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AB0D41-54FA-455A-B04F-360320D6BD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6466" y="1833563"/>
            <a:ext cx="50570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6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20C9937-63C3-4E89-8622-8FB346561E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Название мероприятия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5D5843-46DE-4D8B-BA27-CEC322CDA7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pic>
        <p:nvPicPr>
          <p:cNvPr id="10" name="Рисунок 10">
            <a:extLst>
              <a:ext uri="{FF2B5EF4-FFF2-40B4-BE49-F238E27FC236}">
                <a16:creationId xmlns:a16="http://schemas.microsoft.com/office/drawing/2014/main" id="{E4BD07E8-5E75-496A-B44A-622EF3EA77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695936-F81D-4307-A99D-B29477736C00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FA5A0D2C-8722-4F04-BE55-5630F4B87B5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437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с фото спике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амка 29">
            <a:extLst>
              <a:ext uri="{FF2B5EF4-FFF2-40B4-BE49-F238E27FC236}">
                <a16:creationId xmlns:a16="http://schemas.microsoft.com/office/drawing/2014/main" id="{0834A1E9-DEA2-4810-98C1-4864B91A12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30">
            <a:extLst>
              <a:ext uri="{FF2B5EF4-FFF2-40B4-BE49-F238E27FC236}">
                <a16:creationId xmlns:a16="http://schemas.microsoft.com/office/drawing/2014/main" id="{F132133A-891C-4552-A97F-33204B2F7CB0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D79935-82BE-423B-BC88-EC03A5F2D4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6466" y="1341120"/>
            <a:ext cx="50570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AB0D41-54FA-455A-B04F-360320D6BD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6466" y="1833563"/>
            <a:ext cx="50570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6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20C9937-63C3-4E89-8622-8FB346561E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Название мероприятия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5D5843-46DE-4D8B-BA27-CEC322CDA7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F40A111E-33E1-44D3-8428-8D9283B2337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48960" y="433951"/>
            <a:ext cx="4550840" cy="6424049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pic>
        <p:nvPicPr>
          <p:cNvPr id="13" name="Рисунок 10">
            <a:extLst>
              <a:ext uri="{FF2B5EF4-FFF2-40B4-BE49-F238E27FC236}">
                <a16:creationId xmlns:a16="http://schemas.microsoft.com/office/drawing/2014/main" id="{9BBD9097-5ECA-4B21-8F30-BFE9F09B9C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3CFDCE0-2466-4487-9C1B-CE8ABA894EAF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32EEBC3-4044-467A-A7ED-E4A6EBC53D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8265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561" y="2587669"/>
            <a:ext cx="5646399" cy="61555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E305ED-1B42-46C9-AAD3-23868C01716F}"/>
              </a:ext>
            </a:extLst>
          </p:cNvPr>
          <p:cNvSpPr/>
          <p:nvPr userDrawn="1"/>
        </p:nvSpPr>
        <p:spPr>
          <a:xfrm>
            <a:off x="0" y="2694349"/>
            <a:ext cx="438150" cy="2634665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F26E17-2DA5-4B8A-8A62-539DF9DF7346}"/>
              </a:ext>
            </a:extLst>
          </p:cNvPr>
          <p:cNvSpPr/>
          <p:nvPr userDrawn="1"/>
        </p:nvSpPr>
        <p:spPr>
          <a:xfrm>
            <a:off x="0" y="0"/>
            <a:ext cx="12192000" cy="72000"/>
          </a:xfrm>
          <a:prstGeom prst="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22" descr="A picture containing table&#10;&#10;Description automatically generated">
            <a:extLst>
              <a:ext uri="{FF2B5EF4-FFF2-40B4-BE49-F238E27FC236}">
                <a16:creationId xmlns:a16="http://schemas.microsoft.com/office/drawing/2014/main" id="{8B25C531-708C-4945-8B83-E756EE6EDF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8935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трочка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8890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 строчки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290209"/>
            <a:ext cx="8431847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57FCC7-863C-407B-9FB0-9545797528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813" y="617855"/>
            <a:ext cx="84318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US" sz="2400" cap="all" baseline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marL="228600" lvl="0" indent="-228600">
              <a:spcBef>
                <a:spcPct val="0"/>
              </a:spcBef>
            </a:pPr>
            <a:r>
              <a:rPr lang="ru-RU"/>
              <a:t>Вторая строч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344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0" y="4101930"/>
            <a:ext cx="4659242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35727" y="4101930"/>
            <a:ext cx="4659242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229434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8534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88F2BDCB-B8D5-46C5-B498-B34DD65BC9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7149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1857629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1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71654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88F2BDCB-B8D5-46C5-B498-B34DD65BC9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52929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BD68CF29-070B-4282-BF53-C3A10620C79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30413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2207129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pic>
        <p:nvPicPr>
          <p:cNvPr id="6" name="Picture 16" descr="A screenshot of a flat screen television&#10;&#10;Description automatically generated">
            <a:extLst>
              <a:ext uri="{FF2B5EF4-FFF2-40B4-BE49-F238E27FC236}">
                <a16:creationId xmlns:a16="http://schemas.microsoft.com/office/drawing/2014/main" id="{468BE97C-7BE9-4254-ADB9-BBADE1E30B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00111" y="1179094"/>
            <a:ext cx="9550185" cy="5639383"/>
          </a:xfrm>
          <a:prstGeom prst="rect">
            <a:avLst/>
          </a:prstGeom>
        </p:spPr>
      </p:pic>
      <p:sp>
        <p:nvSpPr>
          <p:cNvPr id="8" name="Рисунок 3">
            <a:extLst>
              <a:ext uri="{FF2B5EF4-FFF2-40B4-BE49-F238E27FC236}">
                <a16:creationId xmlns:a16="http://schemas.microsoft.com/office/drawing/2014/main" id="{D4E40A85-C800-414C-BEE1-B578D5514C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14913" y="1516856"/>
            <a:ext cx="6238875" cy="381952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2100798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ало текста с фотографией на прозрачном фоне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561" y="3226252"/>
            <a:ext cx="5646399" cy="101566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2719750"/>
            <a:ext cx="5646399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800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050BB05-5048-49ED-8299-2B4E13DC7B05}"/>
              </a:ext>
            </a:extLst>
          </p:cNvPr>
          <p:cNvSpPr/>
          <p:nvPr userDrawn="1"/>
        </p:nvSpPr>
        <p:spPr>
          <a:xfrm>
            <a:off x="6854701" y="0"/>
            <a:ext cx="4953000" cy="6858000"/>
          </a:xfrm>
          <a:prstGeom prst="parallelogram">
            <a:avLst>
              <a:gd name="adj" fmla="val 33016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893646B-1B1A-4AF3-96AC-431E4DC9FC8C}"/>
              </a:ext>
            </a:extLst>
          </p:cNvPr>
          <p:cNvSpPr/>
          <p:nvPr userDrawn="1"/>
        </p:nvSpPr>
        <p:spPr>
          <a:xfrm rot="10800000">
            <a:off x="6679888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4B0E331-9DE8-4CDE-8EC8-AE3BDF142FB1}"/>
              </a:ext>
            </a:extLst>
          </p:cNvPr>
          <p:cNvSpPr/>
          <p:nvPr userDrawn="1"/>
        </p:nvSpPr>
        <p:spPr>
          <a:xfrm rot="10800000">
            <a:off x="9436100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accent1">
                  <a:alpha val="40000"/>
                </a:schemeClr>
              </a:gs>
              <a:gs pos="83000">
                <a:schemeClr val="accent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26D9F0BC-F3EF-40D6-ACE3-04CB7CE323AC}"/>
              </a:ext>
            </a:extLst>
          </p:cNvPr>
          <p:cNvSpPr/>
          <p:nvPr userDrawn="1"/>
        </p:nvSpPr>
        <p:spPr>
          <a:xfrm rot="10800000">
            <a:off x="9795973" y="0"/>
            <a:ext cx="2371601" cy="4253049"/>
          </a:xfrm>
          <a:prstGeom prst="parallelogram">
            <a:avLst>
              <a:gd name="adj" fmla="val 43069"/>
            </a:avLst>
          </a:prstGeom>
          <a:gradFill>
            <a:gsLst>
              <a:gs pos="0">
                <a:schemeClr val="accent1">
                  <a:alpha val="20000"/>
                </a:schemeClr>
              </a:gs>
              <a:gs pos="63000">
                <a:schemeClr val="accent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E305ED-1B42-46C9-AAD3-23868C01716F}"/>
              </a:ext>
            </a:extLst>
          </p:cNvPr>
          <p:cNvSpPr/>
          <p:nvPr userDrawn="1"/>
        </p:nvSpPr>
        <p:spPr>
          <a:xfrm>
            <a:off x="0" y="2694349"/>
            <a:ext cx="438150" cy="2634665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175C1BAA-F52A-4AC4-B31E-9E2FE68196FB}"/>
              </a:ext>
            </a:extLst>
          </p:cNvPr>
          <p:cNvSpPr/>
          <p:nvPr userDrawn="1"/>
        </p:nvSpPr>
        <p:spPr>
          <a:xfrm>
            <a:off x="9839803" y="2604951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F26E17-2DA5-4B8A-8A62-539DF9DF7346}"/>
              </a:ext>
            </a:extLst>
          </p:cNvPr>
          <p:cNvSpPr/>
          <p:nvPr userDrawn="1"/>
        </p:nvSpPr>
        <p:spPr>
          <a:xfrm>
            <a:off x="0" y="0"/>
            <a:ext cx="12192000" cy="72000"/>
          </a:xfrm>
          <a:prstGeom prst="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E70B1A3-E8AD-4745-B504-CF22EE6FB2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231566"/>
            <a:ext cx="5646399" cy="5787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4800"/>
              </a:lnSpc>
              <a:buNone/>
              <a:defRPr lang="en-US" sz="3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В две или три строки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BFE6F6F-2C5A-4EBD-94D9-A848AD5BB7A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48960" y="433951"/>
            <a:ext cx="4550840" cy="6424049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8FB3386-438F-4586-9B4C-D202D909F4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9137" y="495215"/>
            <a:ext cx="1567363" cy="47702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873D3B3-185C-4E02-A8C5-6D74EDB79CCA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F692E7B5-CBAA-4BBB-BA61-568AED13E8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8752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8682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22">
            <a:extLst>
              <a:ext uri="{FF2B5EF4-FFF2-40B4-BE49-F238E27FC236}">
                <a16:creationId xmlns:a16="http://schemas.microsoft.com/office/drawing/2014/main" id="{C784C029-6C93-413D-8699-4362434FDC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l="34033" t="15463" r="28889" b="14498"/>
          <a:stretch/>
        </p:blipFill>
        <p:spPr>
          <a:xfrm>
            <a:off x="8442477" y="1060171"/>
            <a:ext cx="2918577" cy="5513074"/>
          </a:xfrm>
          <a:prstGeom prst="rect">
            <a:avLst/>
          </a:prstGeom>
          <a:noFill/>
          <a:ln>
            <a:noFill/>
          </a:ln>
          <a:effectLst>
            <a:outerShdw blurRad="342900" dist="114300" dir="2700000" algn="tl" rotWithShape="0">
              <a:srgbClr val="000000">
                <a:alpha val="30980"/>
              </a:srgbClr>
            </a:outerShdw>
          </a:effectLst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1" name="Рисунок 21">
            <a:extLst>
              <a:ext uri="{FF2B5EF4-FFF2-40B4-BE49-F238E27FC236}">
                <a16:creationId xmlns:a16="http://schemas.microsoft.com/office/drawing/2014/main" id="{D48C7C90-CD98-4D00-8F58-3DFE15D1F7E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20589" y="1435154"/>
            <a:ext cx="2200456" cy="4779909"/>
          </a:xfrm>
          <a:custGeom>
            <a:avLst/>
            <a:gdLst>
              <a:gd name="connsiteX0" fmla="*/ 394614 w 1920529"/>
              <a:gd name="connsiteY0" fmla="*/ 295 h 4171841"/>
              <a:gd name="connsiteX1" fmla="*/ 433387 w 1920529"/>
              <a:gd name="connsiteY1" fmla="*/ 32559 h 4171841"/>
              <a:gd name="connsiteX2" fmla="*/ 439896 w 1920529"/>
              <a:gd name="connsiteY2" fmla="*/ 66237 h 4171841"/>
              <a:gd name="connsiteX3" fmla="*/ 496498 w 1920529"/>
              <a:gd name="connsiteY3" fmla="*/ 136991 h 4171841"/>
              <a:gd name="connsiteX4" fmla="*/ 622911 w 1920529"/>
              <a:gd name="connsiteY4" fmla="*/ 165009 h 4171841"/>
              <a:gd name="connsiteX5" fmla="*/ 1301480 w 1920529"/>
              <a:gd name="connsiteY5" fmla="*/ 165009 h 4171841"/>
              <a:gd name="connsiteX6" fmla="*/ 1413082 w 1920529"/>
              <a:gd name="connsiteY6" fmla="*/ 142934 h 4171841"/>
              <a:gd name="connsiteX7" fmla="*/ 1487325 w 1920529"/>
              <a:gd name="connsiteY7" fmla="*/ 46427 h 4171841"/>
              <a:gd name="connsiteX8" fmla="*/ 1541191 w 1920529"/>
              <a:gd name="connsiteY8" fmla="*/ 295 h 4171841"/>
              <a:gd name="connsiteX9" fmla="*/ 1690244 w 1920529"/>
              <a:gd name="connsiteY9" fmla="*/ 484 h 4171841"/>
              <a:gd name="connsiteX10" fmla="*/ 1809864 w 1920529"/>
              <a:gd name="connsiteY10" fmla="*/ 27182 h 4171841"/>
              <a:gd name="connsiteX11" fmla="*/ 1912599 w 1920529"/>
              <a:gd name="connsiteY11" fmla="*/ 180480 h 4171841"/>
              <a:gd name="connsiteX12" fmla="*/ 1920145 w 1920529"/>
              <a:gd name="connsiteY12" fmla="*/ 329062 h 4171841"/>
              <a:gd name="connsiteX13" fmla="*/ 1920428 w 1920529"/>
              <a:gd name="connsiteY13" fmla="*/ 2963247 h 4171841"/>
              <a:gd name="connsiteX14" fmla="*/ 1920334 w 1920529"/>
              <a:gd name="connsiteY14" fmla="*/ 3268147 h 4171841"/>
              <a:gd name="connsiteX15" fmla="*/ 1917409 w 1920529"/>
              <a:gd name="connsiteY15" fmla="*/ 3893887 h 4171841"/>
              <a:gd name="connsiteX16" fmla="*/ 1912881 w 1920529"/>
              <a:gd name="connsiteY16" fmla="*/ 4001431 h 4171841"/>
              <a:gd name="connsiteX17" fmla="*/ 1766092 w 1920529"/>
              <a:gd name="connsiteY17" fmla="*/ 4161993 h 4171841"/>
              <a:gd name="connsiteX18" fmla="*/ 1675246 w 1920529"/>
              <a:gd name="connsiteY18" fmla="*/ 4171427 h 4171841"/>
              <a:gd name="connsiteX19" fmla="*/ 246976 w 1920529"/>
              <a:gd name="connsiteY19" fmla="*/ 4171616 h 4171841"/>
              <a:gd name="connsiteX20" fmla="*/ 125186 w 1920529"/>
              <a:gd name="connsiteY20" fmla="*/ 4153787 h 4171841"/>
              <a:gd name="connsiteX21" fmla="*/ 43867 w 1920529"/>
              <a:gd name="connsiteY21" fmla="*/ 4090297 h 4171841"/>
              <a:gd name="connsiteX22" fmla="*/ 6604 w 1920529"/>
              <a:gd name="connsiteY22" fmla="*/ 3969451 h 4171841"/>
              <a:gd name="connsiteX23" fmla="*/ 0 w 1920529"/>
              <a:gd name="connsiteY23" fmla="*/ 2066664 h 4171841"/>
              <a:gd name="connsiteX24" fmla="*/ 2170 w 1920529"/>
              <a:gd name="connsiteY24" fmla="*/ 2066664 h 4171841"/>
              <a:gd name="connsiteX25" fmla="*/ 2548 w 1920529"/>
              <a:gd name="connsiteY25" fmla="*/ 303685 h 4171841"/>
              <a:gd name="connsiteX26" fmla="*/ 11321 w 1920529"/>
              <a:gd name="connsiteY26" fmla="*/ 171330 h 4171841"/>
              <a:gd name="connsiteX27" fmla="*/ 181695 w 1920529"/>
              <a:gd name="connsiteY27" fmla="*/ 5107 h 4171841"/>
              <a:gd name="connsiteX28" fmla="*/ 252447 w 1920529"/>
              <a:gd name="connsiteY28" fmla="*/ 484 h 4171841"/>
              <a:gd name="connsiteX29" fmla="*/ 394614 w 1920529"/>
              <a:gd name="connsiteY29" fmla="*/ 295 h 4171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920529" h="4171841">
                <a:moveTo>
                  <a:pt x="394614" y="295"/>
                </a:moveTo>
                <a:cubicBezTo>
                  <a:pt x="420934" y="484"/>
                  <a:pt x="428009" y="6805"/>
                  <a:pt x="433387" y="32559"/>
                </a:cubicBezTo>
                <a:cubicBezTo>
                  <a:pt x="435651" y="43786"/>
                  <a:pt x="437538" y="55106"/>
                  <a:pt x="439896" y="66237"/>
                </a:cubicBezTo>
                <a:cubicBezTo>
                  <a:pt x="446972" y="99161"/>
                  <a:pt x="466688" y="121897"/>
                  <a:pt x="496498" y="136991"/>
                </a:cubicBezTo>
                <a:cubicBezTo>
                  <a:pt x="536308" y="157085"/>
                  <a:pt x="579044" y="164820"/>
                  <a:pt x="622911" y="165009"/>
                </a:cubicBezTo>
                <a:cubicBezTo>
                  <a:pt x="849132" y="165574"/>
                  <a:pt x="1075353" y="165480"/>
                  <a:pt x="1301480" y="165009"/>
                </a:cubicBezTo>
                <a:cubicBezTo>
                  <a:pt x="1339782" y="164915"/>
                  <a:pt x="1377233" y="158027"/>
                  <a:pt x="1413082" y="142934"/>
                </a:cubicBezTo>
                <a:cubicBezTo>
                  <a:pt x="1456571" y="124633"/>
                  <a:pt x="1480627" y="92841"/>
                  <a:pt x="1487325" y="46427"/>
                </a:cubicBezTo>
                <a:cubicBezTo>
                  <a:pt x="1493740" y="1994"/>
                  <a:pt x="1496382" y="295"/>
                  <a:pt x="1541191" y="295"/>
                </a:cubicBezTo>
                <a:cubicBezTo>
                  <a:pt x="1590907" y="295"/>
                  <a:pt x="1640529" y="-82"/>
                  <a:pt x="1690244" y="484"/>
                </a:cubicBezTo>
                <a:cubicBezTo>
                  <a:pt x="1731848" y="956"/>
                  <a:pt x="1772696" y="6994"/>
                  <a:pt x="1809864" y="27182"/>
                </a:cubicBezTo>
                <a:cubicBezTo>
                  <a:pt x="1870713" y="60200"/>
                  <a:pt x="1905711" y="111991"/>
                  <a:pt x="1912599" y="180480"/>
                </a:cubicBezTo>
                <a:cubicBezTo>
                  <a:pt x="1917598" y="229724"/>
                  <a:pt x="1920145" y="279534"/>
                  <a:pt x="1920145" y="329062"/>
                </a:cubicBezTo>
                <a:cubicBezTo>
                  <a:pt x="1920523" y="1207155"/>
                  <a:pt x="1920428" y="2085155"/>
                  <a:pt x="1920428" y="2963247"/>
                </a:cubicBezTo>
                <a:cubicBezTo>
                  <a:pt x="1920428" y="3064849"/>
                  <a:pt x="1920711" y="3166544"/>
                  <a:pt x="1920334" y="3268147"/>
                </a:cubicBezTo>
                <a:cubicBezTo>
                  <a:pt x="1919579" y="3476726"/>
                  <a:pt x="1918730" y="3685306"/>
                  <a:pt x="1917409" y="3893887"/>
                </a:cubicBezTo>
                <a:cubicBezTo>
                  <a:pt x="1917221" y="3929735"/>
                  <a:pt x="1915334" y="3965677"/>
                  <a:pt x="1912881" y="4001431"/>
                </a:cubicBezTo>
                <a:cubicBezTo>
                  <a:pt x="1907410" y="4080204"/>
                  <a:pt x="1847789" y="4146145"/>
                  <a:pt x="1766092" y="4161993"/>
                </a:cubicBezTo>
                <a:cubicBezTo>
                  <a:pt x="1736281" y="4167749"/>
                  <a:pt x="1705528" y="4171333"/>
                  <a:pt x="1675246" y="4171427"/>
                </a:cubicBezTo>
                <a:cubicBezTo>
                  <a:pt x="1199124" y="4171994"/>
                  <a:pt x="723097" y="4171900"/>
                  <a:pt x="246976" y="4171616"/>
                </a:cubicBezTo>
                <a:cubicBezTo>
                  <a:pt x="205750" y="4171616"/>
                  <a:pt x="164808" y="4166805"/>
                  <a:pt x="125186" y="4153787"/>
                </a:cubicBezTo>
                <a:cubicBezTo>
                  <a:pt x="90281" y="4142371"/>
                  <a:pt x="63207" y="4121335"/>
                  <a:pt x="43867" y="4090297"/>
                </a:cubicBezTo>
                <a:cubicBezTo>
                  <a:pt x="20849" y="4053317"/>
                  <a:pt x="6698" y="4013978"/>
                  <a:pt x="6604" y="3969451"/>
                </a:cubicBezTo>
                <a:cubicBezTo>
                  <a:pt x="4623" y="3335126"/>
                  <a:pt x="2264" y="2700895"/>
                  <a:pt x="0" y="2066664"/>
                </a:cubicBezTo>
                <a:cubicBezTo>
                  <a:pt x="755" y="2066664"/>
                  <a:pt x="1510" y="2066664"/>
                  <a:pt x="2170" y="2066664"/>
                </a:cubicBezTo>
                <a:cubicBezTo>
                  <a:pt x="2170" y="1479036"/>
                  <a:pt x="1981" y="891314"/>
                  <a:pt x="2548" y="303685"/>
                </a:cubicBezTo>
                <a:cubicBezTo>
                  <a:pt x="2548" y="259535"/>
                  <a:pt x="5944" y="215102"/>
                  <a:pt x="11321" y="171330"/>
                </a:cubicBezTo>
                <a:cubicBezTo>
                  <a:pt x="23679" y="71710"/>
                  <a:pt x="102829" y="15107"/>
                  <a:pt x="181695" y="5107"/>
                </a:cubicBezTo>
                <a:cubicBezTo>
                  <a:pt x="205090" y="2182"/>
                  <a:pt x="228863" y="768"/>
                  <a:pt x="252447" y="484"/>
                </a:cubicBezTo>
                <a:cubicBezTo>
                  <a:pt x="299805" y="-270"/>
                  <a:pt x="347256" y="13"/>
                  <a:pt x="394614" y="295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855248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онлайн-кла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F872D83B-9F67-43CD-A259-38D41C4292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177" y="2078515"/>
            <a:ext cx="5158694" cy="3024821"/>
          </a:xfrm>
          <a:prstGeom prst="rect">
            <a:avLst/>
          </a:prstGeom>
        </p:spPr>
      </p:pic>
      <p:sp>
        <p:nvSpPr>
          <p:cNvPr id="10" name="Рисунок 10">
            <a:extLst>
              <a:ext uri="{FF2B5EF4-FFF2-40B4-BE49-F238E27FC236}">
                <a16:creationId xmlns:a16="http://schemas.microsoft.com/office/drawing/2014/main" id="{95D247D2-83AF-4DB7-BBBE-5F11EF9958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91275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Рисунок 10">
            <a:extLst>
              <a:ext uri="{FF2B5EF4-FFF2-40B4-BE49-F238E27FC236}">
                <a16:creationId xmlns:a16="http://schemas.microsoft.com/office/drawing/2014/main" id="{F6C1A6F8-E482-4CD3-B793-FB37F40D25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83550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2" name="Рисунок 10">
            <a:extLst>
              <a:ext uri="{FF2B5EF4-FFF2-40B4-BE49-F238E27FC236}">
                <a16:creationId xmlns:a16="http://schemas.microsoft.com/office/drawing/2014/main" id="{14172962-67DB-49D3-B3D9-994E0D24582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778206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3" name="Рисунок 10">
            <a:extLst>
              <a:ext uri="{FF2B5EF4-FFF2-40B4-BE49-F238E27FC236}">
                <a16:creationId xmlns:a16="http://schemas.microsoft.com/office/drawing/2014/main" id="{ABC80502-55AA-425A-A0D5-5AB24ACACD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91275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4" name="Рисунок 10">
            <a:extLst>
              <a:ext uri="{FF2B5EF4-FFF2-40B4-BE49-F238E27FC236}">
                <a16:creationId xmlns:a16="http://schemas.microsoft.com/office/drawing/2014/main" id="{B4385FE8-FF45-4D1A-A3A6-BD013E519AC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83550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5" name="Рисунок 10">
            <a:extLst>
              <a:ext uri="{FF2B5EF4-FFF2-40B4-BE49-F238E27FC236}">
                <a16:creationId xmlns:a16="http://schemas.microsoft.com/office/drawing/2014/main" id="{2C5D671B-ADA7-4ED6-BFE9-E0713373896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78206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6" name="Рисунок 10">
            <a:extLst>
              <a:ext uri="{FF2B5EF4-FFF2-40B4-BE49-F238E27FC236}">
                <a16:creationId xmlns:a16="http://schemas.microsoft.com/office/drawing/2014/main" id="{BA0C9B24-D7DB-47FE-AC55-D65EF4D832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91275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7" name="Рисунок 10">
            <a:extLst>
              <a:ext uri="{FF2B5EF4-FFF2-40B4-BE49-F238E27FC236}">
                <a16:creationId xmlns:a16="http://schemas.microsoft.com/office/drawing/2014/main" id="{B08A2850-6739-4559-B58D-9D7A351CE64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83550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8" name="Рисунок 10">
            <a:extLst>
              <a:ext uri="{FF2B5EF4-FFF2-40B4-BE49-F238E27FC236}">
                <a16:creationId xmlns:a16="http://schemas.microsoft.com/office/drawing/2014/main" id="{0D21383A-808B-4C97-9A6F-83EE82AF228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778206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4011849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онлайн-класс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F872D83B-9F67-43CD-A259-38D41C4292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177" y="2078515"/>
            <a:ext cx="5158694" cy="3024821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CE9E0BF2-5738-4018-ABD3-24A059B08F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91276" y="2134253"/>
            <a:ext cx="5029697" cy="2872836"/>
          </a:xfrm>
          <a:custGeom>
            <a:avLst/>
            <a:gdLst>
              <a:gd name="connsiteX0" fmla="*/ 3386931 w 5029697"/>
              <a:gd name="connsiteY0" fmla="*/ 1950245 h 2872836"/>
              <a:gd name="connsiteX1" fmla="*/ 5029697 w 5029697"/>
              <a:gd name="connsiteY1" fmla="*/ 1950245 h 2872836"/>
              <a:gd name="connsiteX2" fmla="*/ 5029697 w 5029697"/>
              <a:gd name="connsiteY2" fmla="*/ 2872836 h 2872836"/>
              <a:gd name="connsiteX3" fmla="*/ 3386931 w 5029697"/>
              <a:gd name="connsiteY3" fmla="*/ 2872836 h 2872836"/>
              <a:gd name="connsiteX4" fmla="*/ 1692275 w 5029697"/>
              <a:gd name="connsiteY4" fmla="*/ 1950245 h 2872836"/>
              <a:gd name="connsiteX5" fmla="*/ 3335041 w 5029697"/>
              <a:gd name="connsiteY5" fmla="*/ 1950245 h 2872836"/>
              <a:gd name="connsiteX6" fmla="*/ 3335041 w 5029697"/>
              <a:gd name="connsiteY6" fmla="*/ 2872836 h 2872836"/>
              <a:gd name="connsiteX7" fmla="*/ 1692275 w 5029697"/>
              <a:gd name="connsiteY7" fmla="*/ 2872836 h 2872836"/>
              <a:gd name="connsiteX8" fmla="*/ 0 w 5029697"/>
              <a:gd name="connsiteY8" fmla="*/ 1950245 h 2872836"/>
              <a:gd name="connsiteX9" fmla="*/ 1642766 w 5029697"/>
              <a:gd name="connsiteY9" fmla="*/ 1950245 h 2872836"/>
              <a:gd name="connsiteX10" fmla="*/ 1642766 w 5029697"/>
              <a:gd name="connsiteY10" fmla="*/ 2872836 h 2872836"/>
              <a:gd name="connsiteX11" fmla="*/ 0 w 5029697"/>
              <a:gd name="connsiteY11" fmla="*/ 2872836 h 2872836"/>
              <a:gd name="connsiteX12" fmla="*/ 3386931 w 5029697"/>
              <a:gd name="connsiteY12" fmla="*/ 971551 h 2872836"/>
              <a:gd name="connsiteX13" fmla="*/ 5029697 w 5029697"/>
              <a:gd name="connsiteY13" fmla="*/ 971551 h 2872836"/>
              <a:gd name="connsiteX14" fmla="*/ 5029697 w 5029697"/>
              <a:gd name="connsiteY14" fmla="*/ 1894142 h 2872836"/>
              <a:gd name="connsiteX15" fmla="*/ 3386931 w 5029697"/>
              <a:gd name="connsiteY15" fmla="*/ 1894142 h 2872836"/>
              <a:gd name="connsiteX16" fmla="*/ 1692275 w 5029697"/>
              <a:gd name="connsiteY16" fmla="*/ 971551 h 2872836"/>
              <a:gd name="connsiteX17" fmla="*/ 3335041 w 5029697"/>
              <a:gd name="connsiteY17" fmla="*/ 971551 h 2872836"/>
              <a:gd name="connsiteX18" fmla="*/ 3335041 w 5029697"/>
              <a:gd name="connsiteY18" fmla="*/ 1894142 h 2872836"/>
              <a:gd name="connsiteX19" fmla="*/ 1692275 w 5029697"/>
              <a:gd name="connsiteY19" fmla="*/ 1894142 h 2872836"/>
              <a:gd name="connsiteX20" fmla="*/ 0 w 5029697"/>
              <a:gd name="connsiteY20" fmla="*/ 971551 h 2872836"/>
              <a:gd name="connsiteX21" fmla="*/ 1642766 w 5029697"/>
              <a:gd name="connsiteY21" fmla="*/ 971551 h 2872836"/>
              <a:gd name="connsiteX22" fmla="*/ 1642766 w 5029697"/>
              <a:gd name="connsiteY22" fmla="*/ 1894142 h 2872836"/>
              <a:gd name="connsiteX23" fmla="*/ 0 w 5029697"/>
              <a:gd name="connsiteY23" fmla="*/ 1894142 h 2872836"/>
              <a:gd name="connsiteX24" fmla="*/ 3386931 w 5029697"/>
              <a:gd name="connsiteY24" fmla="*/ 0 h 2872836"/>
              <a:gd name="connsiteX25" fmla="*/ 5029697 w 5029697"/>
              <a:gd name="connsiteY25" fmla="*/ 0 h 2872836"/>
              <a:gd name="connsiteX26" fmla="*/ 5029697 w 5029697"/>
              <a:gd name="connsiteY26" fmla="*/ 922591 h 2872836"/>
              <a:gd name="connsiteX27" fmla="*/ 3386931 w 5029697"/>
              <a:gd name="connsiteY27" fmla="*/ 922591 h 2872836"/>
              <a:gd name="connsiteX28" fmla="*/ 1692275 w 5029697"/>
              <a:gd name="connsiteY28" fmla="*/ 0 h 2872836"/>
              <a:gd name="connsiteX29" fmla="*/ 3335041 w 5029697"/>
              <a:gd name="connsiteY29" fmla="*/ 0 h 2872836"/>
              <a:gd name="connsiteX30" fmla="*/ 3335041 w 5029697"/>
              <a:gd name="connsiteY30" fmla="*/ 922591 h 2872836"/>
              <a:gd name="connsiteX31" fmla="*/ 1692275 w 5029697"/>
              <a:gd name="connsiteY31" fmla="*/ 922591 h 2872836"/>
              <a:gd name="connsiteX32" fmla="*/ 0 w 5029697"/>
              <a:gd name="connsiteY32" fmla="*/ 0 h 2872836"/>
              <a:gd name="connsiteX33" fmla="*/ 1642766 w 5029697"/>
              <a:gd name="connsiteY33" fmla="*/ 0 h 2872836"/>
              <a:gd name="connsiteX34" fmla="*/ 1642766 w 5029697"/>
              <a:gd name="connsiteY34" fmla="*/ 922591 h 2872836"/>
              <a:gd name="connsiteX35" fmla="*/ 0 w 5029697"/>
              <a:gd name="connsiteY35" fmla="*/ 922591 h 2872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029697" h="2872836">
                <a:moveTo>
                  <a:pt x="3386931" y="1950245"/>
                </a:moveTo>
                <a:lnTo>
                  <a:pt x="5029697" y="1950245"/>
                </a:lnTo>
                <a:lnTo>
                  <a:pt x="5029697" y="2872836"/>
                </a:lnTo>
                <a:lnTo>
                  <a:pt x="3386931" y="2872836"/>
                </a:lnTo>
                <a:close/>
                <a:moveTo>
                  <a:pt x="1692275" y="1950245"/>
                </a:moveTo>
                <a:lnTo>
                  <a:pt x="3335041" y="1950245"/>
                </a:lnTo>
                <a:lnTo>
                  <a:pt x="3335041" y="2872836"/>
                </a:lnTo>
                <a:lnTo>
                  <a:pt x="1692275" y="2872836"/>
                </a:lnTo>
                <a:close/>
                <a:moveTo>
                  <a:pt x="0" y="1950245"/>
                </a:moveTo>
                <a:lnTo>
                  <a:pt x="1642766" y="1950245"/>
                </a:lnTo>
                <a:lnTo>
                  <a:pt x="1642766" y="2872836"/>
                </a:lnTo>
                <a:lnTo>
                  <a:pt x="0" y="2872836"/>
                </a:lnTo>
                <a:close/>
                <a:moveTo>
                  <a:pt x="3386931" y="971551"/>
                </a:moveTo>
                <a:lnTo>
                  <a:pt x="5029697" y="971551"/>
                </a:lnTo>
                <a:lnTo>
                  <a:pt x="5029697" y="1894142"/>
                </a:lnTo>
                <a:lnTo>
                  <a:pt x="3386931" y="1894142"/>
                </a:lnTo>
                <a:close/>
                <a:moveTo>
                  <a:pt x="1692275" y="971551"/>
                </a:moveTo>
                <a:lnTo>
                  <a:pt x="3335041" y="971551"/>
                </a:lnTo>
                <a:lnTo>
                  <a:pt x="3335041" y="1894142"/>
                </a:lnTo>
                <a:lnTo>
                  <a:pt x="1692275" y="1894142"/>
                </a:lnTo>
                <a:close/>
                <a:moveTo>
                  <a:pt x="0" y="971551"/>
                </a:moveTo>
                <a:lnTo>
                  <a:pt x="1642766" y="971551"/>
                </a:lnTo>
                <a:lnTo>
                  <a:pt x="1642766" y="1894142"/>
                </a:lnTo>
                <a:lnTo>
                  <a:pt x="0" y="1894142"/>
                </a:lnTo>
                <a:close/>
                <a:moveTo>
                  <a:pt x="3386931" y="0"/>
                </a:moveTo>
                <a:lnTo>
                  <a:pt x="5029697" y="0"/>
                </a:lnTo>
                <a:lnTo>
                  <a:pt x="5029697" y="922591"/>
                </a:lnTo>
                <a:lnTo>
                  <a:pt x="3386931" y="922591"/>
                </a:lnTo>
                <a:close/>
                <a:moveTo>
                  <a:pt x="1692275" y="0"/>
                </a:moveTo>
                <a:lnTo>
                  <a:pt x="3335041" y="0"/>
                </a:lnTo>
                <a:lnTo>
                  <a:pt x="3335041" y="922591"/>
                </a:lnTo>
                <a:lnTo>
                  <a:pt x="1692275" y="922591"/>
                </a:lnTo>
                <a:close/>
                <a:moveTo>
                  <a:pt x="0" y="0"/>
                </a:moveTo>
                <a:lnTo>
                  <a:pt x="1642766" y="0"/>
                </a:lnTo>
                <a:lnTo>
                  <a:pt x="1642766" y="922591"/>
                </a:lnTo>
                <a:lnTo>
                  <a:pt x="0" y="922591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325353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 и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41F6637E-FA25-4ED5-9B39-BB5355F469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1292663"/>
            <a:ext cx="5003800" cy="4304219"/>
          </a:xfrm>
          <a:custGeom>
            <a:avLst/>
            <a:gdLst>
              <a:gd name="connsiteX0" fmla="*/ 0 w 5003800"/>
              <a:gd name="connsiteY0" fmla="*/ 0 h 4304219"/>
              <a:gd name="connsiteX1" fmla="*/ 4945478 w 5003800"/>
              <a:gd name="connsiteY1" fmla="*/ 0 h 4304219"/>
              <a:gd name="connsiteX2" fmla="*/ 5003800 w 5003800"/>
              <a:gd name="connsiteY2" fmla="*/ 58322 h 4304219"/>
              <a:gd name="connsiteX3" fmla="*/ 5003800 w 5003800"/>
              <a:gd name="connsiteY3" fmla="*/ 4245897 h 4304219"/>
              <a:gd name="connsiteX4" fmla="*/ 4945478 w 5003800"/>
              <a:gd name="connsiteY4" fmla="*/ 4304219 h 4304219"/>
              <a:gd name="connsiteX5" fmla="*/ 0 w 5003800"/>
              <a:gd name="connsiteY5" fmla="*/ 4304219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03800" h="4304219">
                <a:moveTo>
                  <a:pt x="0" y="0"/>
                </a:moveTo>
                <a:lnTo>
                  <a:pt x="4945478" y="0"/>
                </a:lnTo>
                <a:cubicBezTo>
                  <a:pt x="4977688" y="0"/>
                  <a:pt x="5003800" y="26112"/>
                  <a:pt x="5003800" y="58322"/>
                </a:cubicBezTo>
                <a:lnTo>
                  <a:pt x="5003800" y="4245897"/>
                </a:lnTo>
                <a:cubicBezTo>
                  <a:pt x="5003800" y="4278107"/>
                  <a:pt x="4977688" y="4304219"/>
                  <a:pt x="4945478" y="4304219"/>
                </a:cubicBezTo>
                <a:lnTo>
                  <a:pt x="0" y="4304219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0582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 и тексто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5045974-98BC-4F9A-898B-5BB22DDB34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94988" y="1292662"/>
            <a:ext cx="5001012" cy="4304219"/>
          </a:xfrm>
          <a:custGeom>
            <a:avLst/>
            <a:gdLst>
              <a:gd name="connsiteX0" fmla="*/ 58322 w 5001012"/>
              <a:gd name="connsiteY0" fmla="*/ 0 h 4304219"/>
              <a:gd name="connsiteX1" fmla="*/ 5001012 w 5001012"/>
              <a:gd name="connsiteY1" fmla="*/ 0 h 4304219"/>
              <a:gd name="connsiteX2" fmla="*/ 5001012 w 5001012"/>
              <a:gd name="connsiteY2" fmla="*/ 1 h 4304219"/>
              <a:gd name="connsiteX3" fmla="*/ 5001012 w 5001012"/>
              <a:gd name="connsiteY3" fmla="*/ 4304219 h 4304219"/>
              <a:gd name="connsiteX4" fmla="*/ 58322 w 5001012"/>
              <a:gd name="connsiteY4" fmla="*/ 4304219 h 4304219"/>
              <a:gd name="connsiteX5" fmla="*/ 0 w 5001012"/>
              <a:gd name="connsiteY5" fmla="*/ 4245897 h 4304219"/>
              <a:gd name="connsiteX6" fmla="*/ 0 w 5001012"/>
              <a:gd name="connsiteY6" fmla="*/ 58322 h 4304219"/>
              <a:gd name="connsiteX7" fmla="*/ 58322 w 5001012"/>
              <a:gd name="connsiteY7" fmla="*/ 0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1012" h="4304219">
                <a:moveTo>
                  <a:pt x="58322" y="0"/>
                </a:moveTo>
                <a:lnTo>
                  <a:pt x="5001012" y="0"/>
                </a:lnTo>
                <a:lnTo>
                  <a:pt x="5001012" y="1"/>
                </a:lnTo>
                <a:lnTo>
                  <a:pt x="5001012" y="4304219"/>
                </a:lnTo>
                <a:lnTo>
                  <a:pt x="58322" y="4304219"/>
                </a:lnTo>
                <a:cubicBezTo>
                  <a:pt x="26112" y="4304219"/>
                  <a:pt x="0" y="4278107"/>
                  <a:pt x="0" y="4245897"/>
                </a:cubicBezTo>
                <a:lnTo>
                  <a:pt x="0" y="58322"/>
                </a:lnTo>
                <a:cubicBezTo>
                  <a:pt x="0" y="26112"/>
                  <a:pt x="26112" y="0"/>
                  <a:pt x="58322" y="0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9112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9063BE5-C071-41FD-B46E-66E593A011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92201" y="1292662"/>
            <a:ext cx="10007600" cy="4333523"/>
          </a:xfrm>
          <a:prstGeom prst="roundRect">
            <a:avLst>
              <a:gd name="adj" fmla="val 1281"/>
            </a:avLst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6075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E59C2CC-921F-4753-9DC7-FC2BE6957830}"/>
              </a:ext>
            </a:extLst>
          </p:cNvPr>
          <p:cNvGrpSpPr/>
          <p:nvPr userDrawn="1"/>
        </p:nvGrpSpPr>
        <p:grpSpPr>
          <a:xfrm>
            <a:off x="5024978" y="3109229"/>
            <a:ext cx="2418064" cy="3748771"/>
            <a:chOff x="5024978" y="3109229"/>
            <a:chExt cx="2418064" cy="3748771"/>
          </a:xfrm>
        </p:grpSpPr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1CEA0B8-7D76-4D8C-8A78-FA3F5117AD1A}"/>
                </a:ext>
              </a:extLst>
            </p:cNvPr>
            <p:cNvSpPr/>
            <p:nvPr/>
          </p:nvSpPr>
          <p:spPr>
            <a:xfrm>
              <a:off x="5352638" y="3109229"/>
              <a:ext cx="2090404" cy="3748771"/>
            </a:xfrm>
            <a:prstGeom prst="parallelogram">
              <a:avLst>
                <a:gd name="adj" fmla="val 42841"/>
              </a:avLst>
            </a:prstGeom>
            <a:gradFill>
              <a:gsLst>
                <a:gs pos="0">
                  <a:schemeClr val="accent1">
                    <a:alpha val="40000"/>
                  </a:schemeClr>
                </a:gs>
                <a:gs pos="83000">
                  <a:schemeClr val="accent1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Parallelogram 8">
              <a:extLst>
                <a:ext uri="{FF2B5EF4-FFF2-40B4-BE49-F238E27FC236}">
                  <a16:creationId xmlns:a16="http://schemas.microsoft.com/office/drawing/2014/main" id="{BBF0B4BB-2F79-45A7-BD1C-2AB0ACFF25C0}"/>
                </a:ext>
              </a:extLst>
            </p:cNvPr>
            <p:cNvSpPr/>
            <p:nvPr/>
          </p:nvSpPr>
          <p:spPr>
            <a:xfrm>
              <a:off x="5024978" y="3109229"/>
              <a:ext cx="2090404" cy="3748771"/>
            </a:xfrm>
            <a:prstGeom prst="parallelogram">
              <a:avLst>
                <a:gd name="adj" fmla="val 43069"/>
              </a:avLst>
            </a:prstGeom>
            <a:gradFill>
              <a:gsLst>
                <a:gs pos="0">
                  <a:schemeClr val="accent1">
                    <a:alpha val="20000"/>
                  </a:schemeClr>
                </a:gs>
                <a:gs pos="63000">
                  <a:schemeClr val="accent1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B2E4D1C-5BCE-442C-A13D-F006CA583C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6607619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</p:spTree>
    <p:extLst>
      <p:ext uri="{BB962C8B-B14F-4D97-AF65-F5344CB8AC3E}">
        <p14:creationId xmlns:p14="http://schemas.microsoft.com/office/powerpoint/2010/main" val="3090971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able&#10;&#10;Description automatically generated">
            <a:extLst>
              <a:ext uri="{FF2B5EF4-FFF2-40B4-BE49-F238E27FC236}">
                <a16:creationId xmlns:a16="http://schemas.microsoft.com/office/drawing/2014/main" id="{FC411482-A01D-4D41-9049-435751A034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CD4A95A7-CC45-4AFB-96BE-6972E37907F7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52E7292-5408-4D63-A23B-9FAE93552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6607619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pic>
        <p:nvPicPr>
          <p:cNvPr id="9" name="Рисунок 3">
            <a:extLst>
              <a:ext uri="{FF2B5EF4-FFF2-40B4-BE49-F238E27FC236}">
                <a16:creationId xmlns:a16="http://schemas.microsoft.com/office/drawing/2014/main" id="{57AE9D31-0623-416B-A401-425C073177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032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436381B5-2874-4CCA-A61B-B4BDD05B9C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t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C0D8309-28B8-4E0E-B60C-F6DF2EAA12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446892"/>
            <a:ext cx="12192001" cy="457449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368F232-4EDA-4308-9BC4-CE2AD87F14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2850" y="1951038"/>
            <a:ext cx="4686300" cy="3323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Вопрос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3F6F0B4-EAF1-432E-AB16-AA9627F1D7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39748267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446892"/>
            <a:ext cx="12192000" cy="457449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t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F578032-4858-4A85-A6CE-C1B334B295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446892"/>
            <a:ext cx="12192001" cy="457449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2850" y="750888"/>
            <a:ext cx="4686300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8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Вопрос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A159CEF-90A6-4569-9B57-0757D037C8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  <p:pic>
        <p:nvPicPr>
          <p:cNvPr id="7" name="Рисунок 10">
            <a:extLst>
              <a:ext uri="{FF2B5EF4-FFF2-40B4-BE49-F238E27FC236}">
                <a16:creationId xmlns:a16="http://schemas.microsoft.com/office/drawing/2014/main" id="{34AEDF31-09C5-4B8A-A6D7-F023E33530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4882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4CE01FE9-9E94-4FEA-85AF-35135FE435B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7AF905-B7C7-4149-AB01-2B5A4925C2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2890391"/>
            <a:ext cx="5646399" cy="1077218"/>
          </a:xfrm>
        </p:spPr>
        <p:txBody>
          <a:bodyPr anchor="ctr"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lang="ru-RU" sz="40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pic>
        <p:nvPicPr>
          <p:cNvPr id="19" name="Рисунок 10">
            <a:extLst>
              <a:ext uri="{FF2B5EF4-FFF2-40B4-BE49-F238E27FC236}">
                <a16:creationId xmlns:a16="http://schemas.microsoft.com/office/drawing/2014/main" id="{79AFE90B-8D37-4666-8E5A-76CE3F4EBB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260D6C9-B406-4BBA-9EC3-81D39D754120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E8095ACB-A51F-423F-A34B-6C92BAB7CF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5017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9">
            <a:extLst>
              <a:ext uri="{FF2B5EF4-FFF2-40B4-BE49-F238E27FC236}">
                <a16:creationId xmlns:a16="http://schemas.microsoft.com/office/drawing/2014/main" id="{5714FDBB-C50A-4F9F-A96C-17853B9D35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4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937" t="5444" r="16938" b="15134"/>
          <a:stretch/>
        </p:blipFill>
        <p:spPr>
          <a:xfrm>
            <a:off x="6745917" y="663073"/>
            <a:ext cx="5425440" cy="6194927"/>
          </a:xfrm>
          <a:prstGeom prst="rect">
            <a:avLst/>
          </a:prstGeom>
        </p:spPr>
      </p:pic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6E97C4FE-CB97-4C1E-B4C4-ECC5269A7C19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507CC24-3842-40FB-B371-67EEA4221B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21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A159CEF-90A6-4569-9B57-0757D037C8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  <p:pic>
        <p:nvPicPr>
          <p:cNvPr id="7" name="Рисунок 10">
            <a:extLst>
              <a:ext uri="{FF2B5EF4-FFF2-40B4-BE49-F238E27FC236}">
                <a16:creationId xmlns:a16="http://schemas.microsoft.com/office/drawing/2014/main" id="{34AEDF31-09C5-4B8A-A6D7-F023E33530A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288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роткая фраза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D5F857E-104E-4CB8-9B97-DFEEBCDC77A5}"/>
              </a:ext>
            </a:extLst>
          </p:cNvPr>
          <p:cNvSpPr/>
          <p:nvPr userDrawn="1"/>
        </p:nvSpPr>
        <p:spPr>
          <a:xfrm>
            <a:off x="-1" y="1141753"/>
            <a:ext cx="7354754" cy="4574495"/>
          </a:xfrm>
          <a:custGeom>
            <a:avLst/>
            <a:gdLst>
              <a:gd name="connsiteX0" fmla="*/ 0 w 7354754"/>
              <a:gd name="connsiteY0" fmla="*/ 0 h 4574495"/>
              <a:gd name="connsiteX1" fmla="*/ 7354754 w 7354754"/>
              <a:gd name="connsiteY1" fmla="*/ 0 h 4574495"/>
              <a:gd name="connsiteX2" fmla="*/ 6256130 w 7354754"/>
              <a:gd name="connsiteY2" fmla="*/ 4574495 h 4574495"/>
              <a:gd name="connsiteX3" fmla="*/ 0 w 7354754"/>
              <a:gd name="connsiteY3" fmla="*/ 4574495 h 4574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54754" h="4574495">
                <a:moveTo>
                  <a:pt x="0" y="0"/>
                </a:moveTo>
                <a:lnTo>
                  <a:pt x="7354754" y="0"/>
                </a:lnTo>
                <a:lnTo>
                  <a:pt x="6256130" y="4574495"/>
                </a:lnTo>
                <a:lnTo>
                  <a:pt x="0" y="4574495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1" name="Рисунок 82">
            <a:extLst>
              <a:ext uri="{FF2B5EF4-FFF2-40B4-BE49-F238E27FC236}">
                <a16:creationId xmlns:a16="http://schemas.microsoft.com/office/drawing/2014/main" id="{C9CA1AE7-E8C7-4A85-8AFC-AD924F33D6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r="23520" b="35217"/>
          <a:stretch/>
        </p:blipFill>
        <p:spPr>
          <a:xfrm>
            <a:off x="3579971" y="2120900"/>
            <a:ext cx="3595042" cy="3721889"/>
          </a:xfrm>
          <a:prstGeom prst="rect">
            <a:avLst/>
          </a:prstGeom>
        </p:spPr>
      </p:pic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B2E4D1C-5BCE-442C-A13D-F006CA583C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10" name="Заголовок 6">
            <a:extLst>
              <a:ext uri="{FF2B5EF4-FFF2-40B4-BE49-F238E27FC236}">
                <a16:creationId xmlns:a16="http://schemas.microsoft.com/office/drawing/2014/main" id="{F586D425-74B3-4E43-B34F-1174306171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2875003"/>
            <a:ext cx="4889500" cy="1107996"/>
          </a:xfrm>
        </p:spPr>
        <p:txBody>
          <a:bodyPr anchor="ctr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Крупная короткая фраза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C067C3-07A2-49F7-98B6-8D64BBEE3E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400" y="2361099"/>
            <a:ext cx="488950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866F56C-B103-47FC-8B84-4F5467FF75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4168468"/>
            <a:ext cx="4889500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8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яснительный текст</a:t>
            </a:r>
          </a:p>
        </p:txBody>
      </p:sp>
      <p:pic>
        <p:nvPicPr>
          <p:cNvPr id="9" name="Рисунок 10">
            <a:extLst>
              <a:ext uri="{FF2B5EF4-FFF2-40B4-BE49-F238E27FC236}">
                <a16:creationId xmlns:a16="http://schemas.microsoft.com/office/drawing/2014/main" id="{B70289F3-2DD9-4378-BB81-B4F948A75F5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11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роткая фраза 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452E7292-5408-4D63-A23B-9FAE93552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1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40BE061-5F58-422F-A512-9463E3277201}"/>
              </a:ext>
            </a:extLst>
          </p:cNvPr>
          <p:cNvSpPr/>
          <p:nvPr userDrawn="1"/>
        </p:nvSpPr>
        <p:spPr>
          <a:xfrm>
            <a:off x="-1" y="1141753"/>
            <a:ext cx="12192000" cy="457449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59C1733-F1DE-4FBF-8EA8-C8FEE7948A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alphaModFix amt="36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705" t="21702" r="8705" b="6617"/>
          <a:stretch/>
        </p:blipFill>
        <p:spPr>
          <a:xfrm>
            <a:off x="21716" y="1141753"/>
            <a:ext cx="12192000" cy="4574495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cxnSp>
        <p:nvCxnSpPr>
          <p:cNvPr id="8" name="Прямая соединительная линия 5">
            <a:extLst>
              <a:ext uri="{FF2B5EF4-FFF2-40B4-BE49-F238E27FC236}">
                <a16:creationId xmlns:a16="http://schemas.microsoft.com/office/drawing/2014/main" id="{397FC5C2-F13C-4545-9772-EC697CBFC059}"/>
              </a:ext>
            </a:extLst>
          </p:cNvPr>
          <p:cNvCxnSpPr>
            <a:cxnSpLocks/>
          </p:cNvCxnSpPr>
          <p:nvPr userDrawn="1"/>
        </p:nvCxnSpPr>
        <p:spPr>
          <a:xfrm>
            <a:off x="658813" y="6697548"/>
            <a:ext cx="354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82">
            <a:extLst>
              <a:ext uri="{FF2B5EF4-FFF2-40B4-BE49-F238E27FC236}">
                <a16:creationId xmlns:a16="http://schemas.microsoft.com/office/drawing/2014/main" id="{69F71186-8403-4694-AD30-E0138038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" r="23520" b="35217"/>
          <a:stretch/>
        </p:blipFill>
        <p:spPr>
          <a:xfrm>
            <a:off x="8278116" y="1664267"/>
            <a:ext cx="3913884" cy="4051981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24A8AFAC-E4B3-4B1C-9D19-1914F6B0B6E4}"/>
              </a:ext>
            </a:extLst>
          </p:cNvPr>
          <p:cNvGrpSpPr/>
          <p:nvPr userDrawn="1"/>
        </p:nvGrpSpPr>
        <p:grpSpPr>
          <a:xfrm>
            <a:off x="-1" y="971550"/>
            <a:ext cx="12213717" cy="4914900"/>
            <a:chOff x="-1" y="958707"/>
            <a:chExt cx="12213717" cy="4914900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8EA4ED0F-1C60-4B2D-8732-019F0A5B55E6}"/>
                </a:ext>
              </a:extLst>
            </p:cNvPr>
            <p:cNvCxnSpPr/>
            <p:nvPr userDrawn="1"/>
          </p:nvCxnSpPr>
          <p:spPr>
            <a:xfrm>
              <a:off x="-1" y="958707"/>
              <a:ext cx="12213717" cy="0"/>
            </a:xfrm>
            <a:prstGeom prst="line">
              <a:avLst/>
            </a:prstGeom>
            <a:ln w="50800">
              <a:gradFill>
                <a:gsLst>
                  <a:gs pos="0">
                    <a:schemeClr val="accent6"/>
                  </a:gs>
                  <a:gs pos="100000">
                    <a:schemeClr val="accent6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623C465-EB69-451D-83EB-77C16C5C07E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" y="5873607"/>
              <a:ext cx="12213717" cy="0"/>
            </a:xfrm>
            <a:prstGeom prst="line">
              <a:avLst/>
            </a:prstGeom>
            <a:ln w="50800">
              <a:gradFill>
                <a:gsLst>
                  <a:gs pos="0">
                    <a:schemeClr val="accent6"/>
                  </a:gs>
                  <a:gs pos="100000">
                    <a:schemeClr val="accent6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Заголовок 6">
            <a:extLst>
              <a:ext uri="{FF2B5EF4-FFF2-40B4-BE49-F238E27FC236}">
                <a16:creationId xmlns:a16="http://schemas.microsoft.com/office/drawing/2014/main" id="{892C7CF8-ECA8-456D-8502-12A805011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4500" y="3172183"/>
            <a:ext cx="8763000" cy="1107996"/>
          </a:xfrm>
        </p:spPr>
        <p:txBody>
          <a:bodyPr anchor="ctr"/>
          <a:lstStyle>
            <a:lvl1pPr algn="ctr"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Крупная</a:t>
            </a:r>
            <a:br>
              <a:rPr lang="ru-RU"/>
            </a:br>
            <a:r>
              <a:rPr lang="ru-RU"/>
              <a:t>короткая фраза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CFAC486-CBF0-4911-B71D-B6454A7C14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43175" y="2658279"/>
            <a:ext cx="710565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52D4709-CFED-4B57-9602-F4092BAE5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43175" y="4465648"/>
            <a:ext cx="7105650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en-US" sz="18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яснительный текст</a:t>
            </a:r>
          </a:p>
        </p:txBody>
      </p:sp>
    </p:spTree>
    <p:extLst>
      <p:ext uri="{BB962C8B-B14F-4D97-AF65-F5344CB8AC3E}">
        <p14:creationId xmlns:p14="http://schemas.microsoft.com/office/powerpoint/2010/main" val="191745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D262FE5-846C-4B2F-923C-650BED95D931}"/>
              </a:ext>
            </a:extLst>
          </p:cNvPr>
          <p:cNvSpPr txBox="1"/>
          <p:nvPr userDrawn="1"/>
        </p:nvSpPr>
        <p:spPr>
          <a:xfrm>
            <a:off x="6234433" y="-2001"/>
            <a:ext cx="1295226" cy="30777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20000">
                <a:solidFill>
                  <a:schemeClr val="accent6"/>
                </a:soli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20000">
              <a:solidFill>
                <a:schemeClr val="accent6"/>
              </a:solidFill>
              <a:latin typeface="+mj-lt"/>
              <a:ea typeface="Euclid Circular A" panose="020B0504000000000000" pitchFamily="34" charset="-52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AFD724-3059-4751-BABB-102909D41311}"/>
              </a:ext>
            </a:extLst>
          </p:cNvPr>
          <p:cNvSpPr/>
          <p:nvPr userDrawn="1"/>
        </p:nvSpPr>
        <p:spPr>
          <a:xfrm>
            <a:off x="1482343" y="614861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62000"/>
                </a:schemeClr>
              </a:gs>
              <a:gs pos="97000">
                <a:schemeClr val="accent1">
                  <a:alpha val="0"/>
                </a:schemeClr>
              </a:gs>
            </a:gsLst>
            <a:lin ang="27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92200" y="907469"/>
            <a:ext cx="4535424" cy="5043062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7926" y="1756728"/>
            <a:ext cx="433748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83F5249-2463-46E3-B45E-777E64BB2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96480" y="5102216"/>
            <a:ext cx="359892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Имя автора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1545B6-DADB-4484-8C32-B3BB13B767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6480" y="5436324"/>
            <a:ext cx="3598926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160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pic>
        <p:nvPicPr>
          <p:cNvPr id="11" name="Рисунок 3">
            <a:extLst>
              <a:ext uri="{FF2B5EF4-FFF2-40B4-BE49-F238E27FC236}">
                <a16:creationId xmlns:a16="http://schemas.microsoft.com/office/drawing/2014/main" id="{A4059312-34A3-4744-9CE7-21BE1EE101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0507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Цитат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F2FC6160-933D-499C-B287-530D279E42F6}"/>
              </a:ext>
            </a:extLst>
          </p:cNvPr>
          <p:cNvSpPr txBox="1"/>
          <p:nvPr userDrawn="1"/>
        </p:nvSpPr>
        <p:spPr>
          <a:xfrm>
            <a:off x="538548" y="314325"/>
            <a:ext cx="1865895" cy="443198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28800">
                <a:solidFill>
                  <a:schemeClr val="accent6">
                    <a:alpha val="12000"/>
                  </a:schemeClr>
                </a:soli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28800">
              <a:solidFill>
                <a:schemeClr val="accent6">
                  <a:alpha val="12000"/>
                </a:schemeClr>
              </a:solidFill>
              <a:latin typeface="+mj-lt"/>
              <a:ea typeface="Euclid Circular A" panose="020B0504000000000000" pitchFamily="34" charset="-52"/>
            </a:endParaRPr>
          </a:p>
        </p:txBody>
      </p:sp>
      <p:pic>
        <p:nvPicPr>
          <p:cNvPr id="13" name="Рисунок 3">
            <a:extLst>
              <a:ext uri="{FF2B5EF4-FFF2-40B4-BE49-F238E27FC236}">
                <a16:creationId xmlns:a16="http://schemas.microsoft.com/office/drawing/2014/main" id="{6A6D4F4D-C871-4F62-A945-7BF14883F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495" y="311312"/>
            <a:ext cx="1176000" cy="360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3AFD724-3059-4751-BABB-102909D41311}"/>
              </a:ext>
            </a:extLst>
          </p:cNvPr>
          <p:cNvSpPr/>
          <p:nvPr userDrawn="1"/>
        </p:nvSpPr>
        <p:spPr>
          <a:xfrm>
            <a:off x="5619320" y="0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20000"/>
                </a:schemeClr>
              </a:gs>
              <a:gs pos="50000">
                <a:schemeClr val="accent1">
                  <a:alpha val="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8AE5D02-CB2E-4153-A775-5875A722BA6A}"/>
              </a:ext>
            </a:extLst>
          </p:cNvPr>
          <p:cNvSpPr/>
          <p:nvPr userDrawn="1"/>
        </p:nvSpPr>
        <p:spPr>
          <a:xfrm>
            <a:off x="6055540" y="0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20000"/>
                </a:schemeClr>
              </a:gs>
              <a:gs pos="63000">
                <a:schemeClr val="accent1">
                  <a:alpha val="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96230" y="0"/>
            <a:ext cx="579577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754112"/>
            <a:ext cx="4513405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6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83F5249-2463-46E3-B45E-777E64BB2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678" y="5102216"/>
            <a:ext cx="450626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Имя автора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1545B6-DADB-4484-8C32-B3BB13B767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678" y="5436324"/>
            <a:ext cx="450626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160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1202612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77983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2445A4-9D8F-478E-A168-02E48382C3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3724273"/>
            <a:ext cx="8137645" cy="2620963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4043983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5802484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5503759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9839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2445A4-9D8F-478E-A168-02E48382C3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3724273"/>
            <a:ext cx="12192001" cy="2620963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4043983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5802484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5503759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40562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70742"/>
            <a:ext cx="12192000" cy="457449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7F340F0-E409-49B7-9AC5-F5257A7DCA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769331"/>
            <a:ext cx="12191997" cy="457590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3042500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480100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4502276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pic>
        <p:nvPicPr>
          <p:cNvPr id="7" name="Рисунок 10">
            <a:extLst>
              <a:ext uri="{FF2B5EF4-FFF2-40B4-BE49-F238E27FC236}">
                <a16:creationId xmlns:a16="http://schemas.microsoft.com/office/drawing/2014/main" id="{3B5A1B1D-A36C-4A54-973F-B661536641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6F0381E-3A97-48F7-BC89-D64B4BE07B0C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F49BDE51-1414-428A-92F1-5A79B44F533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795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ал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021DBFA-2785-476F-BB4E-D29C3F5F83B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1341120"/>
            <a:ext cx="5646399" cy="1046633"/>
          </a:xfrm>
        </p:spPr>
        <p:txBody>
          <a:bodyPr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sz="3200" cap="all" baseline="0"/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pic>
        <p:nvPicPr>
          <p:cNvPr id="8" name="Рисунок 10">
            <a:extLst>
              <a:ext uri="{FF2B5EF4-FFF2-40B4-BE49-F238E27FC236}">
                <a16:creationId xmlns:a16="http://schemas.microsoft.com/office/drawing/2014/main" id="{BE2EF9DA-3A26-47F5-B74C-E4E8C6217A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1" name="Прямая соединительная линия 30">
            <a:extLst>
              <a:ext uri="{FF2B5EF4-FFF2-40B4-BE49-F238E27FC236}">
                <a16:creationId xmlns:a16="http://schemas.microsoft.com/office/drawing/2014/main" id="{917BE271-46E7-4DBA-A0CD-B80420923A7E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10FB9F3-ACA6-4B34-BBFF-8D6A1FBCD5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D750032-1C33-4722-ABFA-3C055341AB6A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6F48BF80-820B-4E7F-8E1B-8F2FDDAB63C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9298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icture containing table&#10;&#10;Description automatically generated">
            <a:extLst>
              <a:ext uri="{FF2B5EF4-FFF2-40B4-BE49-F238E27FC236}">
                <a16:creationId xmlns:a16="http://schemas.microsoft.com/office/drawing/2014/main" id="{CB1BA33C-C1F7-40A7-AEF5-CF9FB62DCD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22" name="Прямоугольник 2">
            <a:extLst>
              <a:ext uri="{FF2B5EF4-FFF2-40B4-BE49-F238E27FC236}">
                <a16:creationId xmlns:a16="http://schemas.microsoft.com/office/drawing/2014/main" id="{C8636BB8-0E4C-41F4-8743-4970E70B13A8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2D10374-6A79-4F0D-8864-2A0B42245C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10" name="Рамка 29">
            <a:extLst>
              <a:ext uri="{FF2B5EF4-FFF2-40B4-BE49-F238E27FC236}">
                <a16:creationId xmlns:a16="http://schemas.microsoft.com/office/drawing/2014/main" id="{F3866D87-E695-4F59-A63B-A269D94BB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2" name="Прямая соединительная линия 30">
            <a:extLst>
              <a:ext uri="{FF2B5EF4-FFF2-40B4-BE49-F238E27FC236}">
                <a16:creationId xmlns:a16="http://schemas.microsoft.com/office/drawing/2014/main" id="{498A6940-DBC4-46E6-B215-61E80287D227}"/>
              </a:ext>
            </a:extLst>
          </p:cNvPr>
          <p:cNvCxnSpPr>
            <a:cxnSpLocks/>
          </p:cNvCxnSpPr>
          <p:nvPr userDrawn="1"/>
        </p:nvCxnSpPr>
        <p:spPr>
          <a:xfrm>
            <a:off x="914400" y="137160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0">
            <a:extLst>
              <a:ext uri="{FF2B5EF4-FFF2-40B4-BE49-F238E27FC236}">
                <a16:creationId xmlns:a16="http://schemas.microsoft.com/office/drawing/2014/main" id="{A66DFED0-8284-42B7-9E23-C6C4D75747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8" y="2589454"/>
            <a:ext cx="5003982" cy="1046633"/>
          </a:xfrm>
        </p:spPr>
        <p:txBody>
          <a:bodyPr wrap="square" anchor="ctr"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sz="3200" cap="all" baseline="0"/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4961393"/>
            <a:ext cx="52598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2000" kern="1200" cap="all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10FB9F3-ACA6-4B34-BBFF-8D6A1FBCD5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5310641"/>
            <a:ext cx="5259821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400" kern="1200" dirty="0" smtClean="0">
                <a:solidFill>
                  <a:schemeClr val="bg2"/>
                </a:solidFill>
                <a:latin typeface="+mn-lt"/>
                <a:ea typeface="Euclid Circular A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622419E-C953-485E-9FEC-00B1B4F4D9E6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3F24B24-D372-41BC-886E-53AEC3CA420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768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ало текста с фотографией на прозрачном фоне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561" y="3226252"/>
            <a:ext cx="5646399" cy="101566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2719750"/>
            <a:ext cx="5646399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800" kern="1200" dirty="0" smtClean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8050BB05-5048-49ED-8299-2B4E13DC7B05}"/>
              </a:ext>
            </a:extLst>
          </p:cNvPr>
          <p:cNvSpPr/>
          <p:nvPr userDrawn="1"/>
        </p:nvSpPr>
        <p:spPr>
          <a:xfrm>
            <a:off x="6854701" y="0"/>
            <a:ext cx="4953000" cy="6858000"/>
          </a:xfrm>
          <a:prstGeom prst="parallelogram">
            <a:avLst>
              <a:gd name="adj" fmla="val 33016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893646B-1B1A-4AF3-96AC-431E4DC9FC8C}"/>
              </a:ext>
            </a:extLst>
          </p:cNvPr>
          <p:cNvSpPr/>
          <p:nvPr userDrawn="1"/>
        </p:nvSpPr>
        <p:spPr>
          <a:xfrm rot="10800000">
            <a:off x="6679888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94B0E331-9DE8-4CDE-8EC8-AE3BDF142FB1}"/>
              </a:ext>
            </a:extLst>
          </p:cNvPr>
          <p:cNvSpPr/>
          <p:nvPr userDrawn="1"/>
        </p:nvSpPr>
        <p:spPr>
          <a:xfrm rot="10800000">
            <a:off x="9436100" y="0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accent1">
                  <a:alpha val="40000"/>
                </a:schemeClr>
              </a:gs>
              <a:gs pos="83000">
                <a:schemeClr val="accent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Parallelogram 15">
            <a:extLst>
              <a:ext uri="{FF2B5EF4-FFF2-40B4-BE49-F238E27FC236}">
                <a16:creationId xmlns:a16="http://schemas.microsoft.com/office/drawing/2014/main" id="{26D9F0BC-F3EF-40D6-ACE3-04CB7CE323AC}"/>
              </a:ext>
            </a:extLst>
          </p:cNvPr>
          <p:cNvSpPr/>
          <p:nvPr userDrawn="1"/>
        </p:nvSpPr>
        <p:spPr>
          <a:xfrm rot="10800000">
            <a:off x="9795973" y="0"/>
            <a:ext cx="2371601" cy="4253049"/>
          </a:xfrm>
          <a:prstGeom prst="parallelogram">
            <a:avLst>
              <a:gd name="adj" fmla="val 43069"/>
            </a:avLst>
          </a:prstGeom>
          <a:gradFill>
            <a:gsLst>
              <a:gs pos="0">
                <a:schemeClr val="accent1">
                  <a:alpha val="20000"/>
                </a:schemeClr>
              </a:gs>
              <a:gs pos="63000">
                <a:schemeClr val="accent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E305ED-1B42-46C9-AAD3-23868C01716F}"/>
              </a:ext>
            </a:extLst>
          </p:cNvPr>
          <p:cNvSpPr/>
          <p:nvPr userDrawn="1"/>
        </p:nvSpPr>
        <p:spPr>
          <a:xfrm>
            <a:off x="0" y="2694349"/>
            <a:ext cx="438150" cy="2634665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Parallelogram 20">
            <a:extLst>
              <a:ext uri="{FF2B5EF4-FFF2-40B4-BE49-F238E27FC236}">
                <a16:creationId xmlns:a16="http://schemas.microsoft.com/office/drawing/2014/main" id="{175C1BAA-F52A-4AC4-B31E-9E2FE68196FB}"/>
              </a:ext>
            </a:extLst>
          </p:cNvPr>
          <p:cNvSpPr/>
          <p:nvPr userDrawn="1"/>
        </p:nvSpPr>
        <p:spPr>
          <a:xfrm>
            <a:off x="9839803" y="2604951"/>
            <a:ext cx="2371601" cy="4253049"/>
          </a:xfrm>
          <a:prstGeom prst="parallelogram">
            <a:avLst>
              <a:gd name="adj" fmla="val 42841"/>
            </a:avLst>
          </a:prstGeom>
          <a:gradFill>
            <a:gsLst>
              <a:gs pos="0">
                <a:schemeClr val="bg1">
                  <a:alpha val="40000"/>
                </a:schemeClr>
              </a:gs>
              <a:gs pos="83000">
                <a:schemeClr val="bg1">
                  <a:alpha val="0"/>
                </a:schemeClr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F26E17-2DA5-4B8A-8A62-539DF9DF7346}"/>
              </a:ext>
            </a:extLst>
          </p:cNvPr>
          <p:cNvSpPr/>
          <p:nvPr userDrawn="1"/>
        </p:nvSpPr>
        <p:spPr>
          <a:xfrm>
            <a:off x="0" y="0"/>
            <a:ext cx="12192000" cy="72000"/>
          </a:xfrm>
          <a:prstGeom prst="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E70B1A3-E8AD-4745-B504-CF22EE6FB2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231566"/>
            <a:ext cx="5646399" cy="5787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4800"/>
              </a:lnSpc>
              <a:buNone/>
              <a:defRPr lang="en-US" sz="3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В две или три строки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BFE6F6F-2C5A-4EBD-94D9-A848AD5BB7A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48960" y="433951"/>
            <a:ext cx="4550840" cy="6424049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8FB3386-438F-4586-9B4C-D202D909F4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9137" y="495215"/>
            <a:ext cx="1567363" cy="47702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873D3B3-185C-4E02-A8C5-6D74EDB79CCA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7C61016-DA90-4C5D-9705-F10D9A70995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8752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3372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4CE01FE9-9E94-4FEA-85AF-35135FE435B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7AF905-B7C7-4149-AB01-2B5A4925C2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2890391"/>
            <a:ext cx="5646399" cy="1077218"/>
          </a:xfrm>
        </p:spPr>
        <p:txBody>
          <a:bodyPr anchor="ctr"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lang="ru-RU" sz="40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pic>
        <p:nvPicPr>
          <p:cNvPr id="19" name="Рисунок 10">
            <a:extLst>
              <a:ext uri="{FF2B5EF4-FFF2-40B4-BE49-F238E27FC236}">
                <a16:creationId xmlns:a16="http://schemas.microsoft.com/office/drawing/2014/main" id="{79AFE90B-8D37-4666-8E5A-76CE3F4EBB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260D6C9-B406-4BBA-9EC3-81D39D754120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B2F87F39-1C38-4B08-A58F-542078A7C46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4179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icture containing table&#10;&#10;Description automatically generated">
            <a:extLst>
              <a:ext uri="{FF2B5EF4-FFF2-40B4-BE49-F238E27FC236}">
                <a16:creationId xmlns:a16="http://schemas.microsoft.com/office/drawing/2014/main" id="{CB1BA33C-C1F7-40A7-AEF5-CF9FB62DCD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22" name="Прямоугольник 2">
            <a:extLst>
              <a:ext uri="{FF2B5EF4-FFF2-40B4-BE49-F238E27FC236}">
                <a16:creationId xmlns:a16="http://schemas.microsoft.com/office/drawing/2014/main" id="{C8636BB8-0E4C-41F4-8743-4970E70B13A8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2D10374-6A79-4F0D-8864-2A0B42245C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10" name="Рамка 29">
            <a:extLst>
              <a:ext uri="{FF2B5EF4-FFF2-40B4-BE49-F238E27FC236}">
                <a16:creationId xmlns:a16="http://schemas.microsoft.com/office/drawing/2014/main" id="{F3866D87-E695-4F59-A63B-A269D94BB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2" name="Прямая соединительная линия 30">
            <a:extLst>
              <a:ext uri="{FF2B5EF4-FFF2-40B4-BE49-F238E27FC236}">
                <a16:creationId xmlns:a16="http://schemas.microsoft.com/office/drawing/2014/main" id="{498A6940-DBC4-46E6-B215-61E80287D227}"/>
              </a:ext>
            </a:extLst>
          </p:cNvPr>
          <p:cNvCxnSpPr>
            <a:cxnSpLocks/>
          </p:cNvCxnSpPr>
          <p:nvPr userDrawn="1"/>
        </p:nvCxnSpPr>
        <p:spPr>
          <a:xfrm>
            <a:off x="914400" y="137160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0">
            <a:extLst>
              <a:ext uri="{FF2B5EF4-FFF2-40B4-BE49-F238E27FC236}">
                <a16:creationId xmlns:a16="http://schemas.microsoft.com/office/drawing/2014/main" id="{A66DFED0-8284-42B7-9E23-C6C4D75747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8" y="2589454"/>
            <a:ext cx="5003982" cy="1046633"/>
          </a:xfrm>
        </p:spPr>
        <p:txBody>
          <a:bodyPr wrap="square" anchor="ctr">
            <a:spAutoFit/>
          </a:bodyPr>
          <a:lstStyle>
            <a:lvl1pPr>
              <a:lnSpc>
                <a:spcPts val="4200"/>
              </a:lnSpc>
              <a:spcAft>
                <a:spcPts val="0"/>
              </a:spcAft>
              <a:defRPr sz="3200" cap="all" baseline="0"/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вторая строчка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381719-C377-4979-B410-BA170EE9C3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2561" y="4961393"/>
            <a:ext cx="52598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2000" kern="1200" cap="all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10FB9F3-ACA6-4B34-BBFF-8D6A1FBCD5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5310641"/>
            <a:ext cx="5259821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400" kern="1200" dirty="0" smtClean="0">
                <a:solidFill>
                  <a:schemeClr val="bg2"/>
                </a:solidFill>
                <a:latin typeface="+mn-lt"/>
                <a:ea typeface="Euclid Circular A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622419E-C953-485E-9FEC-00B1B4F4D9E6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35B5FEA-67EF-4774-9AFF-BCC51952A1D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8343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без изображ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table&#10;&#10;Description automatically generated">
            <a:extLst>
              <a:ext uri="{FF2B5EF4-FFF2-40B4-BE49-F238E27FC236}">
                <a16:creationId xmlns:a16="http://schemas.microsoft.com/office/drawing/2014/main" id="{DB8F0A0E-4A01-4BC2-95D8-CC6D77F1A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18" name="Прямоугольник 2">
            <a:extLst>
              <a:ext uri="{FF2B5EF4-FFF2-40B4-BE49-F238E27FC236}">
                <a16:creationId xmlns:a16="http://schemas.microsoft.com/office/drawing/2014/main" id="{A165DB1E-F99F-4F5E-B9CF-BEE49A7D5268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8B40DDC-AF21-425F-9985-2CAA06499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4" name="Рамка 29">
            <a:extLst>
              <a:ext uri="{FF2B5EF4-FFF2-40B4-BE49-F238E27FC236}">
                <a16:creationId xmlns:a16="http://schemas.microsoft.com/office/drawing/2014/main" id="{0834A1E9-DEA2-4810-98C1-4864B91A12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30">
            <a:extLst>
              <a:ext uri="{FF2B5EF4-FFF2-40B4-BE49-F238E27FC236}">
                <a16:creationId xmlns:a16="http://schemas.microsoft.com/office/drawing/2014/main" id="{F132133A-891C-4552-A97F-33204B2F7CB0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D79935-82BE-423B-BC88-EC03A5F2D4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6466" y="1341120"/>
            <a:ext cx="50570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AB0D41-54FA-455A-B04F-360320D6BD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6466" y="1833563"/>
            <a:ext cx="50570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6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20C9937-63C3-4E89-8622-8FB346561E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Название мероприятия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5D5843-46DE-4D8B-BA27-CEC322CDA7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pic>
        <p:nvPicPr>
          <p:cNvPr id="10" name="Рисунок 10">
            <a:extLst>
              <a:ext uri="{FF2B5EF4-FFF2-40B4-BE49-F238E27FC236}">
                <a16:creationId xmlns:a16="http://schemas.microsoft.com/office/drawing/2014/main" id="{E4BD07E8-5E75-496A-B44A-622EF3EA77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695936-F81D-4307-A99D-B29477736C00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A14ECB9-5D11-448E-8565-8606AE2C462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0728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с фото спике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амка 29">
            <a:extLst>
              <a:ext uri="{FF2B5EF4-FFF2-40B4-BE49-F238E27FC236}">
                <a16:creationId xmlns:a16="http://schemas.microsoft.com/office/drawing/2014/main" id="{0834A1E9-DEA2-4810-98C1-4864B91A12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30">
            <a:extLst>
              <a:ext uri="{FF2B5EF4-FFF2-40B4-BE49-F238E27FC236}">
                <a16:creationId xmlns:a16="http://schemas.microsoft.com/office/drawing/2014/main" id="{F132133A-891C-4552-A97F-33204B2F7CB0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D79935-82BE-423B-BC88-EC03A5F2D4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6466" y="1341120"/>
            <a:ext cx="50570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AB0D41-54FA-455A-B04F-360320D6BD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6466" y="1833563"/>
            <a:ext cx="50570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6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20C9937-63C3-4E89-8622-8FB346561E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Название мероприятия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5D5843-46DE-4D8B-BA27-CEC322CDA7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F40A111E-33E1-44D3-8428-8D9283B2337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48960" y="433951"/>
            <a:ext cx="4550840" cy="6424049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pic>
        <p:nvPicPr>
          <p:cNvPr id="13" name="Рисунок 10">
            <a:extLst>
              <a:ext uri="{FF2B5EF4-FFF2-40B4-BE49-F238E27FC236}">
                <a16:creationId xmlns:a16="http://schemas.microsoft.com/office/drawing/2014/main" id="{9BBD9097-5ECA-4B21-8F30-BFE9F09B9C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3CFDCE0-2466-4487-9C1B-CE8ABA894EAF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0F18AE9A-A89C-460F-AD5B-B3CA7EEBD5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6568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561" y="2587669"/>
            <a:ext cx="5646399" cy="61555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E305ED-1B42-46C9-AAD3-23868C01716F}"/>
              </a:ext>
            </a:extLst>
          </p:cNvPr>
          <p:cNvSpPr/>
          <p:nvPr userDrawn="1"/>
        </p:nvSpPr>
        <p:spPr>
          <a:xfrm>
            <a:off x="0" y="2694349"/>
            <a:ext cx="438150" cy="2634665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F26E17-2DA5-4B8A-8A62-539DF9DF7346}"/>
              </a:ext>
            </a:extLst>
          </p:cNvPr>
          <p:cNvSpPr/>
          <p:nvPr userDrawn="1"/>
        </p:nvSpPr>
        <p:spPr>
          <a:xfrm>
            <a:off x="0" y="0"/>
            <a:ext cx="12192000" cy="72000"/>
          </a:xfrm>
          <a:prstGeom prst="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22" descr="A picture containing table&#10;&#10;Description automatically generated">
            <a:extLst>
              <a:ext uri="{FF2B5EF4-FFF2-40B4-BE49-F238E27FC236}">
                <a16:creationId xmlns:a16="http://schemas.microsoft.com/office/drawing/2014/main" id="{8B25C531-708C-4945-8B83-E756EE6EDF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2875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трочка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7311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 строчки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290209"/>
            <a:ext cx="8431847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57FCC7-863C-407B-9FB0-9545797528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813" y="617855"/>
            <a:ext cx="84318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en-US" sz="2400" cap="all" baseline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marL="228600" lvl="0" indent="-228600">
              <a:spcBef>
                <a:spcPct val="0"/>
              </a:spcBef>
            </a:pPr>
            <a:r>
              <a:rPr lang="ru-RU"/>
              <a:t>Вторая строч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634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0" y="4101930"/>
            <a:ext cx="4659242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35727" y="4101930"/>
            <a:ext cx="4659242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4183898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8534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88F2BDCB-B8D5-46C5-B498-B34DD65BC9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71490" y="4101930"/>
            <a:ext cx="3036385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403605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без изображ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table&#10;&#10;Description automatically generated">
            <a:extLst>
              <a:ext uri="{FF2B5EF4-FFF2-40B4-BE49-F238E27FC236}">
                <a16:creationId xmlns:a16="http://schemas.microsoft.com/office/drawing/2014/main" id="{DB8F0A0E-4A01-4BC2-95D8-CC6D77F1A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18" name="Прямоугольник 2">
            <a:extLst>
              <a:ext uri="{FF2B5EF4-FFF2-40B4-BE49-F238E27FC236}">
                <a16:creationId xmlns:a16="http://schemas.microsoft.com/office/drawing/2014/main" id="{A165DB1E-F99F-4F5E-B9CF-BEE49A7D5268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8B40DDC-AF21-425F-9985-2CAA06499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4" name="Рамка 29">
            <a:extLst>
              <a:ext uri="{FF2B5EF4-FFF2-40B4-BE49-F238E27FC236}">
                <a16:creationId xmlns:a16="http://schemas.microsoft.com/office/drawing/2014/main" id="{0834A1E9-DEA2-4810-98C1-4864B91A12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30">
            <a:extLst>
              <a:ext uri="{FF2B5EF4-FFF2-40B4-BE49-F238E27FC236}">
                <a16:creationId xmlns:a16="http://schemas.microsoft.com/office/drawing/2014/main" id="{F132133A-891C-4552-A97F-33204B2F7CB0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D79935-82BE-423B-BC88-EC03A5F2D4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6466" y="1341120"/>
            <a:ext cx="50570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AB0D41-54FA-455A-B04F-360320D6BD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6466" y="1833563"/>
            <a:ext cx="50570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6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20C9937-63C3-4E89-8622-8FB346561E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Название мероприятия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5D5843-46DE-4D8B-BA27-CEC322CDA7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pic>
        <p:nvPicPr>
          <p:cNvPr id="10" name="Рисунок 10">
            <a:extLst>
              <a:ext uri="{FF2B5EF4-FFF2-40B4-BE49-F238E27FC236}">
                <a16:creationId xmlns:a16="http://schemas.microsoft.com/office/drawing/2014/main" id="{E4BD07E8-5E75-496A-B44A-622EF3EA77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695936-F81D-4307-A99D-B29477736C00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0A5A99AF-1A26-417A-B2F3-33A15DF518C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2404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C080EA-FDDC-4F25-97DE-051C3CBCEC0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92201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A8A3AE-9FC8-439D-9010-CBA364DBFF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71654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8" name="Picture Placeholder 14">
            <a:extLst>
              <a:ext uri="{FF2B5EF4-FFF2-40B4-BE49-F238E27FC236}">
                <a16:creationId xmlns:a16="http://schemas.microsoft.com/office/drawing/2014/main" id="{88F2BDCB-B8D5-46C5-B498-B34DD65BC9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52929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BD68CF29-070B-4282-BF53-C3A10620C79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30413" y="4101930"/>
            <a:ext cx="2269387" cy="2243306"/>
          </a:xfrm>
          <a:custGeom>
            <a:avLst/>
            <a:gdLst>
              <a:gd name="connsiteX0" fmla="*/ 0 w 4659242"/>
              <a:gd name="connsiteY0" fmla="*/ 0 h 2243306"/>
              <a:gd name="connsiteX1" fmla="*/ 4659242 w 4659242"/>
              <a:gd name="connsiteY1" fmla="*/ 0 h 2243306"/>
              <a:gd name="connsiteX2" fmla="*/ 4659242 w 4659242"/>
              <a:gd name="connsiteY2" fmla="*/ 2173334 h 2243306"/>
              <a:gd name="connsiteX3" fmla="*/ 4653745 w 4659242"/>
              <a:gd name="connsiteY3" fmla="*/ 2200564 h 2243306"/>
              <a:gd name="connsiteX4" fmla="*/ 4589262 w 4659242"/>
              <a:gd name="connsiteY4" fmla="*/ 2243306 h 2243306"/>
              <a:gd name="connsiteX5" fmla="*/ 69982 w 4659242"/>
              <a:gd name="connsiteY5" fmla="*/ 2243306 h 2243306"/>
              <a:gd name="connsiteX6" fmla="*/ 0 w 4659242"/>
              <a:gd name="connsiteY6" fmla="*/ 2173324 h 2243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9242" h="2243306">
                <a:moveTo>
                  <a:pt x="0" y="0"/>
                </a:moveTo>
                <a:lnTo>
                  <a:pt x="4659242" y="0"/>
                </a:lnTo>
                <a:lnTo>
                  <a:pt x="4659242" y="2173334"/>
                </a:lnTo>
                <a:lnTo>
                  <a:pt x="4653745" y="2200564"/>
                </a:lnTo>
                <a:cubicBezTo>
                  <a:pt x="4643121" y="2225682"/>
                  <a:pt x="4618250" y="2243306"/>
                  <a:pt x="4589262" y="2243306"/>
                </a:cubicBezTo>
                <a:lnTo>
                  <a:pt x="69982" y="2243306"/>
                </a:lnTo>
                <a:cubicBezTo>
                  <a:pt x="31332" y="2243306"/>
                  <a:pt x="0" y="2211974"/>
                  <a:pt x="0" y="2173324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</p:spTree>
    <p:extLst>
      <p:ext uri="{BB962C8B-B14F-4D97-AF65-F5344CB8AC3E}">
        <p14:creationId xmlns:p14="http://schemas.microsoft.com/office/powerpoint/2010/main" val="4178853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pic>
        <p:nvPicPr>
          <p:cNvPr id="6" name="Picture 16" descr="A screenshot of a flat screen television&#10;&#10;Description automatically generated">
            <a:extLst>
              <a:ext uri="{FF2B5EF4-FFF2-40B4-BE49-F238E27FC236}">
                <a16:creationId xmlns:a16="http://schemas.microsoft.com/office/drawing/2014/main" id="{468BE97C-7BE9-4254-ADB9-BBADE1E30B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00111" y="1179094"/>
            <a:ext cx="9550185" cy="5639383"/>
          </a:xfrm>
          <a:prstGeom prst="rect">
            <a:avLst/>
          </a:prstGeom>
        </p:spPr>
      </p:pic>
      <p:sp>
        <p:nvSpPr>
          <p:cNvPr id="8" name="Рисунок 3">
            <a:extLst>
              <a:ext uri="{FF2B5EF4-FFF2-40B4-BE49-F238E27FC236}">
                <a16:creationId xmlns:a16="http://schemas.microsoft.com/office/drawing/2014/main" id="{D4E40A85-C800-414C-BEE1-B578D5514C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14913" y="1516856"/>
            <a:ext cx="6238875" cy="381952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18811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22">
            <a:extLst>
              <a:ext uri="{FF2B5EF4-FFF2-40B4-BE49-F238E27FC236}">
                <a16:creationId xmlns:a16="http://schemas.microsoft.com/office/drawing/2014/main" id="{C784C029-6C93-413D-8699-4362434FDC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l="34033" t="15463" r="28889" b="14498"/>
          <a:stretch/>
        </p:blipFill>
        <p:spPr>
          <a:xfrm>
            <a:off x="8442477" y="1060171"/>
            <a:ext cx="2918577" cy="5513074"/>
          </a:xfrm>
          <a:prstGeom prst="rect">
            <a:avLst/>
          </a:prstGeom>
          <a:noFill/>
          <a:ln>
            <a:noFill/>
          </a:ln>
          <a:effectLst>
            <a:outerShdw blurRad="342900" dist="114300" dir="2700000" algn="tl" rotWithShape="0">
              <a:srgbClr val="000000">
                <a:alpha val="30980"/>
              </a:srgbClr>
            </a:outerShdw>
          </a:effectLst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1" name="Рисунок 21">
            <a:extLst>
              <a:ext uri="{FF2B5EF4-FFF2-40B4-BE49-F238E27FC236}">
                <a16:creationId xmlns:a16="http://schemas.microsoft.com/office/drawing/2014/main" id="{D48C7C90-CD98-4D00-8F58-3DFE15D1F7E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20589" y="1435154"/>
            <a:ext cx="2200456" cy="4779909"/>
          </a:xfrm>
          <a:custGeom>
            <a:avLst/>
            <a:gdLst>
              <a:gd name="connsiteX0" fmla="*/ 394614 w 1920529"/>
              <a:gd name="connsiteY0" fmla="*/ 295 h 4171841"/>
              <a:gd name="connsiteX1" fmla="*/ 433387 w 1920529"/>
              <a:gd name="connsiteY1" fmla="*/ 32559 h 4171841"/>
              <a:gd name="connsiteX2" fmla="*/ 439896 w 1920529"/>
              <a:gd name="connsiteY2" fmla="*/ 66237 h 4171841"/>
              <a:gd name="connsiteX3" fmla="*/ 496498 w 1920529"/>
              <a:gd name="connsiteY3" fmla="*/ 136991 h 4171841"/>
              <a:gd name="connsiteX4" fmla="*/ 622911 w 1920529"/>
              <a:gd name="connsiteY4" fmla="*/ 165009 h 4171841"/>
              <a:gd name="connsiteX5" fmla="*/ 1301480 w 1920529"/>
              <a:gd name="connsiteY5" fmla="*/ 165009 h 4171841"/>
              <a:gd name="connsiteX6" fmla="*/ 1413082 w 1920529"/>
              <a:gd name="connsiteY6" fmla="*/ 142934 h 4171841"/>
              <a:gd name="connsiteX7" fmla="*/ 1487325 w 1920529"/>
              <a:gd name="connsiteY7" fmla="*/ 46427 h 4171841"/>
              <a:gd name="connsiteX8" fmla="*/ 1541191 w 1920529"/>
              <a:gd name="connsiteY8" fmla="*/ 295 h 4171841"/>
              <a:gd name="connsiteX9" fmla="*/ 1690244 w 1920529"/>
              <a:gd name="connsiteY9" fmla="*/ 484 h 4171841"/>
              <a:gd name="connsiteX10" fmla="*/ 1809864 w 1920529"/>
              <a:gd name="connsiteY10" fmla="*/ 27182 h 4171841"/>
              <a:gd name="connsiteX11" fmla="*/ 1912599 w 1920529"/>
              <a:gd name="connsiteY11" fmla="*/ 180480 h 4171841"/>
              <a:gd name="connsiteX12" fmla="*/ 1920145 w 1920529"/>
              <a:gd name="connsiteY12" fmla="*/ 329062 h 4171841"/>
              <a:gd name="connsiteX13" fmla="*/ 1920428 w 1920529"/>
              <a:gd name="connsiteY13" fmla="*/ 2963247 h 4171841"/>
              <a:gd name="connsiteX14" fmla="*/ 1920334 w 1920529"/>
              <a:gd name="connsiteY14" fmla="*/ 3268147 h 4171841"/>
              <a:gd name="connsiteX15" fmla="*/ 1917409 w 1920529"/>
              <a:gd name="connsiteY15" fmla="*/ 3893887 h 4171841"/>
              <a:gd name="connsiteX16" fmla="*/ 1912881 w 1920529"/>
              <a:gd name="connsiteY16" fmla="*/ 4001431 h 4171841"/>
              <a:gd name="connsiteX17" fmla="*/ 1766092 w 1920529"/>
              <a:gd name="connsiteY17" fmla="*/ 4161993 h 4171841"/>
              <a:gd name="connsiteX18" fmla="*/ 1675246 w 1920529"/>
              <a:gd name="connsiteY18" fmla="*/ 4171427 h 4171841"/>
              <a:gd name="connsiteX19" fmla="*/ 246976 w 1920529"/>
              <a:gd name="connsiteY19" fmla="*/ 4171616 h 4171841"/>
              <a:gd name="connsiteX20" fmla="*/ 125186 w 1920529"/>
              <a:gd name="connsiteY20" fmla="*/ 4153787 h 4171841"/>
              <a:gd name="connsiteX21" fmla="*/ 43867 w 1920529"/>
              <a:gd name="connsiteY21" fmla="*/ 4090297 h 4171841"/>
              <a:gd name="connsiteX22" fmla="*/ 6604 w 1920529"/>
              <a:gd name="connsiteY22" fmla="*/ 3969451 h 4171841"/>
              <a:gd name="connsiteX23" fmla="*/ 0 w 1920529"/>
              <a:gd name="connsiteY23" fmla="*/ 2066664 h 4171841"/>
              <a:gd name="connsiteX24" fmla="*/ 2170 w 1920529"/>
              <a:gd name="connsiteY24" fmla="*/ 2066664 h 4171841"/>
              <a:gd name="connsiteX25" fmla="*/ 2548 w 1920529"/>
              <a:gd name="connsiteY25" fmla="*/ 303685 h 4171841"/>
              <a:gd name="connsiteX26" fmla="*/ 11321 w 1920529"/>
              <a:gd name="connsiteY26" fmla="*/ 171330 h 4171841"/>
              <a:gd name="connsiteX27" fmla="*/ 181695 w 1920529"/>
              <a:gd name="connsiteY27" fmla="*/ 5107 h 4171841"/>
              <a:gd name="connsiteX28" fmla="*/ 252447 w 1920529"/>
              <a:gd name="connsiteY28" fmla="*/ 484 h 4171841"/>
              <a:gd name="connsiteX29" fmla="*/ 394614 w 1920529"/>
              <a:gd name="connsiteY29" fmla="*/ 295 h 4171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920529" h="4171841">
                <a:moveTo>
                  <a:pt x="394614" y="295"/>
                </a:moveTo>
                <a:cubicBezTo>
                  <a:pt x="420934" y="484"/>
                  <a:pt x="428009" y="6805"/>
                  <a:pt x="433387" y="32559"/>
                </a:cubicBezTo>
                <a:cubicBezTo>
                  <a:pt x="435651" y="43786"/>
                  <a:pt x="437538" y="55106"/>
                  <a:pt x="439896" y="66237"/>
                </a:cubicBezTo>
                <a:cubicBezTo>
                  <a:pt x="446972" y="99161"/>
                  <a:pt x="466688" y="121897"/>
                  <a:pt x="496498" y="136991"/>
                </a:cubicBezTo>
                <a:cubicBezTo>
                  <a:pt x="536308" y="157085"/>
                  <a:pt x="579044" y="164820"/>
                  <a:pt x="622911" y="165009"/>
                </a:cubicBezTo>
                <a:cubicBezTo>
                  <a:pt x="849132" y="165574"/>
                  <a:pt x="1075353" y="165480"/>
                  <a:pt x="1301480" y="165009"/>
                </a:cubicBezTo>
                <a:cubicBezTo>
                  <a:pt x="1339782" y="164915"/>
                  <a:pt x="1377233" y="158027"/>
                  <a:pt x="1413082" y="142934"/>
                </a:cubicBezTo>
                <a:cubicBezTo>
                  <a:pt x="1456571" y="124633"/>
                  <a:pt x="1480627" y="92841"/>
                  <a:pt x="1487325" y="46427"/>
                </a:cubicBezTo>
                <a:cubicBezTo>
                  <a:pt x="1493740" y="1994"/>
                  <a:pt x="1496382" y="295"/>
                  <a:pt x="1541191" y="295"/>
                </a:cubicBezTo>
                <a:cubicBezTo>
                  <a:pt x="1590907" y="295"/>
                  <a:pt x="1640529" y="-82"/>
                  <a:pt x="1690244" y="484"/>
                </a:cubicBezTo>
                <a:cubicBezTo>
                  <a:pt x="1731848" y="956"/>
                  <a:pt x="1772696" y="6994"/>
                  <a:pt x="1809864" y="27182"/>
                </a:cubicBezTo>
                <a:cubicBezTo>
                  <a:pt x="1870713" y="60200"/>
                  <a:pt x="1905711" y="111991"/>
                  <a:pt x="1912599" y="180480"/>
                </a:cubicBezTo>
                <a:cubicBezTo>
                  <a:pt x="1917598" y="229724"/>
                  <a:pt x="1920145" y="279534"/>
                  <a:pt x="1920145" y="329062"/>
                </a:cubicBezTo>
                <a:cubicBezTo>
                  <a:pt x="1920523" y="1207155"/>
                  <a:pt x="1920428" y="2085155"/>
                  <a:pt x="1920428" y="2963247"/>
                </a:cubicBezTo>
                <a:cubicBezTo>
                  <a:pt x="1920428" y="3064849"/>
                  <a:pt x="1920711" y="3166544"/>
                  <a:pt x="1920334" y="3268147"/>
                </a:cubicBezTo>
                <a:cubicBezTo>
                  <a:pt x="1919579" y="3476726"/>
                  <a:pt x="1918730" y="3685306"/>
                  <a:pt x="1917409" y="3893887"/>
                </a:cubicBezTo>
                <a:cubicBezTo>
                  <a:pt x="1917221" y="3929735"/>
                  <a:pt x="1915334" y="3965677"/>
                  <a:pt x="1912881" y="4001431"/>
                </a:cubicBezTo>
                <a:cubicBezTo>
                  <a:pt x="1907410" y="4080204"/>
                  <a:pt x="1847789" y="4146145"/>
                  <a:pt x="1766092" y="4161993"/>
                </a:cubicBezTo>
                <a:cubicBezTo>
                  <a:pt x="1736281" y="4167749"/>
                  <a:pt x="1705528" y="4171333"/>
                  <a:pt x="1675246" y="4171427"/>
                </a:cubicBezTo>
                <a:cubicBezTo>
                  <a:pt x="1199124" y="4171994"/>
                  <a:pt x="723097" y="4171900"/>
                  <a:pt x="246976" y="4171616"/>
                </a:cubicBezTo>
                <a:cubicBezTo>
                  <a:pt x="205750" y="4171616"/>
                  <a:pt x="164808" y="4166805"/>
                  <a:pt x="125186" y="4153787"/>
                </a:cubicBezTo>
                <a:cubicBezTo>
                  <a:pt x="90281" y="4142371"/>
                  <a:pt x="63207" y="4121335"/>
                  <a:pt x="43867" y="4090297"/>
                </a:cubicBezTo>
                <a:cubicBezTo>
                  <a:pt x="20849" y="4053317"/>
                  <a:pt x="6698" y="4013978"/>
                  <a:pt x="6604" y="3969451"/>
                </a:cubicBezTo>
                <a:cubicBezTo>
                  <a:pt x="4623" y="3335126"/>
                  <a:pt x="2264" y="2700895"/>
                  <a:pt x="0" y="2066664"/>
                </a:cubicBezTo>
                <a:cubicBezTo>
                  <a:pt x="755" y="2066664"/>
                  <a:pt x="1510" y="2066664"/>
                  <a:pt x="2170" y="2066664"/>
                </a:cubicBezTo>
                <a:cubicBezTo>
                  <a:pt x="2170" y="1479036"/>
                  <a:pt x="1981" y="891314"/>
                  <a:pt x="2548" y="303685"/>
                </a:cubicBezTo>
                <a:cubicBezTo>
                  <a:pt x="2548" y="259535"/>
                  <a:pt x="5944" y="215102"/>
                  <a:pt x="11321" y="171330"/>
                </a:cubicBezTo>
                <a:cubicBezTo>
                  <a:pt x="23679" y="71710"/>
                  <a:pt x="102829" y="15107"/>
                  <a:pt x="181695" y="5107"/>
                </a:cubicBezTo>
                <a:cubicBezTo>
                  <a:pt x="205090" y="2182"/>
                  <a:pt x="228863" y="768"/>
                  <a:pt x="252447" y="484"/>
                </a:cubicBezTo>
                <a:cubicBezTo>
                  <a:pt x="299805" y="-270"/>
                  <a:pt x="347256" y="13"/>
                  <a:pt x="394614" y="295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2469839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онлайн-кла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F872D83B-9F67-43CD-A259-38D41C4292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177" y="2078515"/>
            <a:ext cx="5158694" cy="3024821"/>
          </a:xfrm>
          <a:prstGeom prst="rect">
            <a:avLst/>
          </a:prstGeom>
        </p:spPr>
      </p:pic>
      <p:sp>
        <p:nvSpPr>
          <p:cNvPr id="10" name="Рисунок 10">
            <a:extLst>
              <a:ext uri="{FF2B5EF4-FFF2-40B4-BE49-F238E27FC236}">
                <a16:creationId xmlns:a16="http://schemas.microsoft.com/office/drawing/2014/main" id="{95D247D2-83AF-4DB7-BBBE-5F11EF9958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91275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Рисунок 10">
            <a:extLst>
              <a:ext uri="{FF2B5EF4-FFF2-40B4-BE49-F238E27FC236}">
                <a16:creationId xmlns:a16="http://schemas.microsoft.com/office/drawing/2014/main" id="{F6C1A6F8-E482-4CD3-B793-FB37F40D25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83550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2" name="Рисунок 10">
            <a:extLst>
              <a:ext uri="{FF2B5EF4-FFF2-40B4-BE49-F238E27FC236}">
                <a16:creationId xmlns:a16="http://schemas.microsoft.com/office/drawing/2014/main" id="{14172962-67DB-49D3-B3D9-994E0D24582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778206" y="2134253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3" name="Рисунок 10">
            <a:extLst>
              <a:ext uri="{FF2B5EF4-FFF2-40B4-BE49-F238E27FC236}">
                <a16:creationId xmlns:a16="http://schemas.microsoft.com/office/drawing/2014/main" id="{ABC80502-55AA-425A-A0D5-5AB24ACACD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91275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4" name="Рисунок 10">
            <a:extLst>
              <a:ext uri="{FF2B5EF4-FFF2-40B4-BE49-F238E27FC236}">
                <a16:creationId xmlns:a16="http://schemas.microsoft.com/office/drawing/2014/main" id="{B4385FE8-FF45-4D1A-A3A6-BD013E519AC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83550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5" name="Рисунок 10">
            <a:extLst>
              <a:ext uri="{FF2B5EF4-FFF2-40B4-BE49-F238E27FC236}">
                <a16:creationId xmlns:a16="http://schemas.microsoft.com/office/drawing/2014/main" id="{2C5D671B-ADA7-4ED6-BFE9-E0713373896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78206" y="3105804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6" name="Рисунок 10">
            <a:extLst>
              <a:ext uri="{FF2B5EF4-FFF2-40B4-BE49-F238E27FC236}">
                <a16:creationId xmlns:a16="http://schemas.microsoft.com/office/drawing/2014/main" id="{BA0C9B24-D7DB-47FE-AC55-D65EF4D832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91275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7" name="Рисунок 10">
            <a:extLst>
              <a:ext uri="{FF2B5EF4-FFF2-40B4-BE49-F238E27FC236}">
                <a16:creationId xmlns:a16="http://schemas.microsoft.com/office/drawing/2014/main" id="{B08A2850-6739-4559-B58D-9D7A351CE64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83550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  <p:sp>
        <p:nvSpPr>
          <p:cNvPr id="28" name="Рисунок 10">
            <a:extLst>
              <a:ext uri="{FF2B5EF4-FFF2-40B4-BE49-F238E27FC236}">
                <a16:creationId xmlns:a16="http://schemas.microsoft.com/office/drawing/2014/main" id="{0D21383A-808B-4C97-9A6F-83EE82AF228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778206" y="4084498"/>
            <a:ext cx="1642766" cy="922591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3043934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онлайн-класс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oji, building&#10;&#10;Description automatically generated">
            <a:extLst>
              <a:ext uri="{FF2B5EF4-FFF2-40B4-BE49-F238E27FC236}">
                <a16:creationId xmlns:a16="http://schemas.microsoft.com/office/drawing/2014/main" id="{F872D83B-9F67-43CD-A259-38D41C4292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177" y="2078515"/>
            <a:ext cx="5158694" cy="3024821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CE9E0BF2-5738-4018-ABD3-24A059B08FA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91276" y="2134253"/>
            <a:ext cx="5029697" cy="2872836"/>
          </a:xfrm>
          <a:custGeom>
            <a:avLst/>
            <a:gdLst>
              <a:gd name="connsiteX0" fmla="*/ 3386931 w 5029697"/>
              <a:gd name="connsiteY0" fmla="*/ 1950245 h 2872836"/>
              <a:gd name="connsiteX1" fmla="*/ 5029697 w 5029697"/>
              <a:gd name="connsiteY1" fmla="*/ 1950245 h 2872836"/>
              <a:gd name="connsiteX2" fmla="*/ 5029697 w 5029697"/>
              <a:gd name="connsiteY2" fmla="*/ 2872836 h 2872836"/>
              <a:gd name="connsiteX3" fmla="*/ 3386931 w 5029697"/>
              <a:gd name="connsiteY3" fmla="*/ 2872836 h 2872836"/>
              <a:gd name="connsiteX4" fmla="*/ 1692275 w 5029697"/>
              <a:gd name="connsiteY4" fmla="*/ 1950245 h 2872836"/>
              <a:gd name="connsiteX5" fmla="*/ 3335041 w 5029697"/>
              <a:gd name="connsiteY5" fmla="*/ 1950245 h 2872836"/>
              <a:gd name="connsiteX6" fmla="*/ 3335041 w 5029697"/>
              <a:gd name="connsiteY6" fmla="*/ 2872836 h 2872836"/>
              <a:gd name="connsiteX7" fmla="*/ 1692275 w 5029697"/>
              <a:gd name="connsiteY7" fmla="*/ 2872836 h 2872836"/>
              <a:gd name="connsiteX8" fmla="*/ 0 w 5029697"/>
              <a:gd name="connsiteY8" fmla="*/ 1950245 h 2872836"/>
              <a:gd name="connsiteX9" fmla="*/ 1642766 w 5029697"/>
              <a:gd name="connsiteY9" fmla="*/ 1950245 h 2872836"/>
              <a:gd name="connsiteX10" fmla="*/ 1642766 w 5029697"/>
              <a:gd name="connsiteY10" fmla="*/ 2872836 h 2872836"/>
              <a:gd name="connsiteX11" fmla="*/ 0 w 5029697"/>
              <a:gd name="connsiteY11" fmla="*/ 2872836 h 2872836"/>
              <a:gd name="connsiteX12" fmla="*/ 3386931 w 5029697"/>
              <a:gd name="connsiteY12" fmla="*/ 971551 h 2872836"/>
              <a:gd name="connsiteX13" fmla="*/ 5029697 w 5029697"/>
              <a:gd name="connsiteY13" fmla="*/ 971551 h 2872836"/>
              <a:gd name="connsiteX14" fmla="*/ 5029697 w 5029697"/>
              <a:gd name="connsiteY14" fmla="*/ 1894142 h 2872836"/>
              <a:gd name="connsiteX15" fmla="*/ 3386931 w 5029697"/>
              <a:gd name="connsiteY15" fmla="*/ 1894142 h 2872836"/>
              <a:gd name="connsiteX16" fmla="*/ 1692275 w 5029697"/>
              <a:gd name="connsiteY16" fmla="*/ 971551 h 2872836"/>
              <a:gd name="connsiteX17" fmla="*/ 3335041 w 5029697"/>
              <a:gd name="connsiteY17" fmla="*/ 971551 h 2872836"/>
              <a:gd name="connsiteX18" fmla="*/ 3335041 w 5029697"/>
              <a:gd name="connsiteY18" fmla="*/ 1894142 h 2872836"/>
              <a:gd name="connsiteX19" fmla="*/ 1692275 w 5029697"/>
              <a:gd name="connsiteY19" fmla="*/ 1894142 h 2872836"/>
              <a:gd name="connsiteX20" fmla="*/ 0 w 5029697"/>
              <a:gd name="connsiteY20" fmla="*/ 971551 h 2872836"/>
              <a:gd name="connsiteX21" fmla="*/ 1642766 w 5029697"/>
              <a:gd name="connsiteY21" fmla="*/ 971551 h 2872836"/>
              <a:gd name="connsiteX22" fmla="*/ 1642766 w 5029697"/>
              <a:gd name="connsiteY22" fmla="*/ 1894142 h 2872836"/>
              <a:gd name="connsiteX23" fmla="*/ 0 w 5029697"/>
              <a:gd name="connsiteY23" fmla="*/ 1894142 h 2872836"/>
              <a:gd name="connsiteX24" fmla="*/ 3386931 w 5029697"/>
              <a:gd name="connsiteY24" fmla="*/ 0 h 2872836"/>
              <a:gd name="connsiteX25" fmla="*/ 5029697 w 5029697"/>
              <a:gd name="connsiteY25" fmla="*/ 0 h 2872836"/>
              <a:gd name="connsiteX26" fmla="*/ 5029697 w 5029697"/>
              <a:gd name="connsiteY26" fmla="*/ 922591 h 2872836"/>
              <a:gd name="connsiteX27" fmla="*/ 3386931 w 5029697"/>
              <a:gd name="connsiteY27" fmla="*/ 922591 h 2872836"/>
              <a:gd name="connsiteX28" fmla="*/ 1692275 w 5029697"/>
              <a:gd name="connsiteY28" fmla="*/ 0 h 2872836"/>
              <a:gd name="connsiteX29" fmla="*/ 3335041 w 5029697"/>
              <a:gd name="connsiteY29" fmla="*/ 0 h 2872836"/>
              <a:gd name="connsiteX30" fmla="*/ 3335041 w 5029697"/>
              <a:gd name="connsiteY30" fmla="*/ 922591 h 2872836"/>
              <a:gd name="connsiteX31" fmla="*/ 1692275 w 5029697"/>
              <a:gd name="connsiteY31" fmla="*/ 922591 h 2872836"/>
              <a:gd name="connsiteX32" fmla="*/ 0 w 5029697"/>
              <a:gd name="connsiteY32" fmla="*/ 0 h 2872836"/>
              <a:gd name="connsiteX33" fmla="*/ 1642766 w 5029697"/>
              <a:gd name="connsiteY33" fmla="*/ 0 h 2872836"/>
              <a:gd name="connsiteX34" fmla="*/ 1642766 w 5029697"/>
              <a:gd name="connsiteY34" fmla="*/ 922591 h 2872836"/>
              <a:gd name="connsiteX35" fmla="*/ 0 w 5029697"/>
              <a:gd name="connsiteY35" fmla="*/ 922591 h 2872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029697" h="2872836">
                <a:moveTo>
                  <a:pt x="3386931" y="1950245"/>
                </a:moveTo>
                <a:lnTo>
                  <a:pt x="5029697" y="1950245"/>
                </a:lnTo>
                <a:lnTo>
                  <a:pt x="5029697" y="2872836"/>
                </a:lnTo>
                <a:lnTo>
                  <a:pt x="3386931" y="2872836"/>
                </a:lnTo>
                <a:close/>
                <a:moveTo>
                  <a:pt x="1692275" y="1950245"/>
                </a:moveTo>
                <a:lnTo>
                  <a:pt x="3335041" y="1950245"/>
                </a:lnTo>
                <a:lnTo>
                  <a:pt x="3335041" y="2872836"/>
                </a:lnTo>
                <a:lnTo>
                  <a:pt x="1692275" y="2872836"/>
                </a:lnTo>
                <a:close/>
                <a:moveTo>
                  <a:pt x="0" y="1950245"/>
                </a:moveTo>
                <a:lnTo>
                  <a:pt x="1642766" y="1950245"/>
                </a:lnTo>
                <a:lnTo>
                  <a:pt x="1642766" y="2872836"/>
                </a:lnTo>
                <a:lnTo>
                  <a:pt x="0" y="2872836"/>
                </a:lnTo>
                <a:close/>
                <a:moveTo>
                  <a:pt x="3386931" y="971551"/>
                </a:moveTo>
                <a:lnTo>
                  <a:pt x="5029697" y="971551"/>
                </a:lnTo>
                <a:lnTo>
                  <a:pt x="5029697" y="1894142"/>
                </a:lnTo>
                <a:lnTo>
                  <a:pt x="3386931" y="1894142"/>
                </a:lnTo>
                <a:close/>
                <a:moveTo>
                  <a:pt x="1692275" y="971551"/>
                </a:moveTo>
                <a:lnTo>
                  <a:pt x="3335041" y="971551"/>
                </a:lnTo>
                <a:lnTo>
                  <a:pt x="3335041" y="1894142"/>
                </a:lnTo>
                <a:lnTo>
                  <a:pt x="1692275" y="1894142"/>
                </a:lnTo>
                <a:close/>
                <a:moveTo>
                  <a:pt x="0" y="971551"/>
                </a:moveTo>
                <a:lnTo>
                  <a:pt x="1642766" y="971551"/>
                </a:lnTo>
                <a:lnTo>
                  <a:pt x="1642766" y="1894142"/>
                </a:lnTo>
                <a:lnTo>
                  <a:pt x="0" y="1894142"/>
                </a:lnTo>
                <a:close/>
                <a:moveTo>
                  <a:pt x="3386931" y="0"/>
                </a:moveTo>
                <a:lnTo>
                  <a:pt x="5029697" y="0"/>
                </a:lnTo>
                <a:lnTo>
                  <a:pt x="5029697" y="922591"/>
                </a:lnTo>
                <a:lnTo>
                  <a:pt x="3386931" y="922591"/>
                </a:lnTo>
                <a:close/>
                <a:moveTo>
                  <a:pt x="1692275" y="0"/>
                </a:moveTo>
                <a:lnTo>
                  <a:pt x="3335041" y="0"/>
                </a:lnTo>
                <a:lnTo>
                  <a:pt x="3335041" y="922591"/>
                </a:lnTo>
                <a:lnTo>
                  <a:pt x="1692275" y="922591"/>
                </a:lnTo>
                <a:close/>
                <a:moveTo>
                  <a:pt x="0" y="0"/>
                </a:moveTo>
                <a:lnTo>
                  <a:pt x="1642766" y="0"/>
                </a:lnTo>
                <a:lnTo>
                  <a:pt x="1642766" y="922591"/>
                </a:lnTo>
                <a:lnTo>
                  <a:pt x="0" y="922591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Вставьте</a:t>
            </a:r>
            <a:br>
              <a:rPr lang="ru-RU"/>
            </a:br>
            <a:r>
              <a:rPr lang="ru-RU"/>
              <a:t>скриншот</a:t>
            </a:r>
          </a:p>
        </p:txBody>
      </p:sp>
    </p:spTree>
    <p:extLst>
      <p:ext uri="{BB962C8B-B14F-4D97-AF65-F5344CB8AC3E}">
        <p14:creationId xmlns:p14="http://schemas.microsoft.com/office/powerpoint/2010/main" val="1995975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 и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41F6637E-FA25-4ED5-9B39-BB5355F469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1292663"/>
            <a:ext cx="5003800" cy="4304219"/>
          </a:xfrm>
          <a:custGeom>
            <a:avLst/>
            <a:gdLst>
              <a:gd name="connsiteX0" fmla="*/ 0 w 5003800"/>
              <a:gd name="connsiteY0" fmla="*/ 0 h 4304219"/>
              <a:gd name="connsiteX1" fmla="*/ 4945478 w 5003800"/>
              <a:gd name="connsiteY1" fmla="*/ 0 h 4304219"/>
              <a:gd name="connsiteX2" fmla="*/ 5003800 w 5003800"/>
              <a:gd name="connsiteY2" fmla="*/ 58322 h 4304219"/>
              <a:gd name="connsiteX3" fmla="*/ 5003800 w 5003800"/>
              <a:gd name="connsiteY3" fmla="*/ 4245897 h 4304219"/>
              <a:gd name="connsiteX4" fmla="*/ 4945478 w 5003800"/>
              <a:gd name="connsiteY4" fmla="*/ 4304219 h 4304219"/>
              <a:gd name="connsiteX5" fmla="*/ 0 w 5003800"/>
              <a:gd name="connsiteY5" fmla="*/ 4304219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03800" h="4304219">
                <a:moveTo>
                  <a:pt x="0" y="0"/>
                </a:moveTo>
                <a:lnTo>
                  <a:pt x="4945478" y="0"/>
                </a:lnTo>
                <a:cubicBezTo>
                  <a:pt x="4977688" y="0"/>
                  <a:pt x="5003800" y="26112"/>
                  <a:pt x="5003800" y="58322"/>
                </a:cubicBezTo>
                <a:lnTo>
                  <a:pt x="5003800" y="4245897"/>
                </a:lnTo>
                <a:cubicBezTo>
                  <a:pt x="5003800" y="4278107"/>
                  <a:pt x="4977688" y="4304219"/>
                  <a:pt x="4945478" y="4304219"/>
                </a:cubicBezTo>
                <a:lnTo>
                  <a:pt x="0" y="4304219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3774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 и тексто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5045974-98BC-4F9A-898B-5BB22DDB341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94988" y="1292662"/>
            <a:ext cx="5001012" cy="4304219"/>
          </a:xfrm>
          <a:custGeom>
            <a:avLst/>
            <a:gdLst>
              <a:gd name="connsiteX0" fmla="*/ 58322 w 5001012"/>
              <a:gd name="connsiteY0" fmla="*/ 0 h 4304219"/>
              <a:gd name="connsiteX1" fmla="*/ 5001012 w 5001012"/>
              <a:gd name="connsiteY1" fmla="*/ 0 h 4304219"/>
              <a:gd name="connsiteX2" fmla="*/ 5001012 w 5001012"/>
              <a:gd name="connsiteY2" fmla="*/ 1 h 4304219"/>
              <a:gd name="connsiteX3" fmla="*/ 5001012 w 5001012"/>
              <a:gd name="connsiteY3" fmla="*/ 4304219 h 4304219"/>
              <a:gd name="connsiteX4" fmla="*/ 58322 w 5001012"/>
              <a:gd name="connsiteY4" fmla="*/ 4304219 h 4304219"/>
              <a:gd name="connsiteX5" fmla="*/ 0 w 5001012"/>
              <a:gd name="connsiteY5" fmla="*/ 4245897 h 4304219"/>
              <a:gd name="connsiteX6" fmla="*/ 0 w 5001012"/>
              <a:gd name="connsiteY6" fmla="*/ 58322 h 4304219"/>
              <a:gd name="connsiteX7" fmla="*/ 58322 w 5001012"/>
              <a:gd name="connsiteY7" fmla="*/ 0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01012" h="4304219">
                <a:moveTo>
                  <a:pt x="58322" y="0"/>
                </a:moveTo>
                <a:lnTo>
                  <a:pt x="5001012" y="0"/>
                </a:lnTo>
                <a:lnTo>
                  <a:pt x="5001012" y="1"/>
                </a:lnTo>
                <a:lnTo>
                  <a:pt x="5001012" y="4304219"/>
                </a:lnTo>
                <a:lnTo>
                  <a:pt x="58322" y="4304219"/>
                </a:lnTo>
                <a:cubicBezTo>
                  <a:pt x="26112" y="4304219"/>
                  <a:pt x="0" y="4278107"/>
                  <a:pt x="0" y="4245897"/>
                </a:cubicBezTo>
                <a:lnTo>
                  <a:pt x="0" y="58322"/>
                </a:lnTo>
                <a:cubicBezTo>
                  <a:pt x="0" y="26112"/>
                  <a:pt x="26112" y="0"/>
                  <a:pt x="58322" y="0"/>
                </a:cubicBez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6794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9063BE5-C071-41FD-B46E-66E593A011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92201" y="1292662"/>
            <a:ext cx="10007600" cy="4333523"/>
          </a:xfrm>
          <a:prstGeom prst="roundRect">
            <a:avLst>
              <a:gd name="adj" fmla="val 1281"/>
            </a:avLst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5CBE75-DB49-402A-A589-8CF0928E92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8738" y="6649906"/>
            <a:ext cx="9710420" cy="110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kumimoji="0" lang="en-US" sz="800" b="0" i="1" u="none" strike="noStrike" kern="1200" cap="none" spc="0" normalizeH="0" baseline="0" dirty="0" smtClean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kumimoji="0" lang="ru-RU" sz="800" b="0" i="1" u="none" strike="noStrike" kern="1200" cap="none" spc="0" normalizeH="0" baseline="0" dirty="0">
                <a:ln>
                  <a:noFill/>
                </a:ln>
                <a:solidFill>
                  <a:srgbClr val="7F7F7F">
                    <a:lumMod val="10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8620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E59C2CC-921F-4753-9DC7-FC2BE6957830}"/>
              </a:ext>
            </a:extLst>
          </p:cNvPr>
          <p:cNvGrpSpPr/>
          <p:nvPr userDrawn="1"/>
        </p:nvGrpSpPr>
        <p:grpSpPr>
          <a:xfrm>
            <a:off x="5024978" y="3109229"/>
            <a:ext cx="2418064" cy="3748771"/>
            <a:chOff x="5024978" y="3109229"/>
            <a:chExt cx="2418064" cy="3748771"/>
          </a:xfrm>
        </p:grpSpPr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1CEA0B8-7D76-4D8C-8A78-FA3F5117AD1A}"/>
                </a:ext>
              </a:extLst>
            </p:cNvPr>
            <p:cNvSpPr/>
            <p:nvPr/>
          </p:nvSpPr>
          <p:spPr>
            <a:xfrm>
              <a:off x="5352638" y="3109229"/>
              <a:ext cx="2090404" cy="3748771"/>
            </a:xfrm>
            <a:prstGeom prst="parallelogram">
              <a:avLst>
                <a:gd name="adj" fmla="val 42841"/>
              </a:avLst>
            </a:prstGeom>
            <a:gradFill>
              <a:gsLst>
                <a:gs pos="0">
                  <a:schemeClr val="accent1">
                    <a:alpha val="40000"/>
                  </a:schemeClr>
                </a:gs>
                <a:gs pos="83000">
                  <a:schemeClr val="accent1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Parallelogram 8">
              <a:extLst>
                <a:ext uri="{FF2B5EF4-FFF2-40B4-BE49-F238E27FC236}">
                  <a16:creationId xmlns:a16="http://schemas.microsoft.com/office/drawing/2014/main" id="{BBF0B4BB-2F79-45A7-BD1C-2AB0ACFF25C0}"/>
                </a:ext>
              </a:extLst>
            </p:cNvPr>
            <p:cNvSpPr/>
            <p:nvPr/>
          </p:nvSpPr>
          <p:spPr>
            <a:xfrm>
              <a:off x="5024978" y="3109229"/>
              <a:ext cx="2090404" cy="3748771"/>
            </a:xfrm>
            <a:prstGeom prst="parallelogram">
              <a:avLst>
                <a:gd name="adj" fmla="val 43069"/>
              </a:avLst>
            </a:prstGeom>
            <a:gradFill>
              <a:gsLst>
                <a:gs pos="0">
                  <a:schemeClr val="accent1">
                    <a:alpha val="20000"/>
                  </a:schemeClr>
                </a:gs>
                <a:gs pos="63000">
                  <a:schemeClr val="accent1">
                    <a:alpha val="0"/>
                  </a:schemeClr>
                </a:gs>
              </a:gsLst>
              <a:lin ang="162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B2E4D1C-5BCE-442C-A13D-F006CA583C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6607619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</p:spTree>
    <p:extLst>
      <p:ext uri="{BB962C8B-B14F-4D97-AF65-F5344CB8AC3E}">
        <p14:creationId xmlns:p14="http://schemas.microsoft.com/office/powerpoint/2010/main" val="2537397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able&#10;&#10;Description automatically generated">
            <a:extLst>
              <a:ext uri="{FF2B5EF4-FFF2-40B4-BE49-F238E27FC236}">
                <a16:creationId xmlns:a16="http://schemas.microsoft.com/office/drawing/2014/main" id="{FC411482-A01D-4D41-9049-435751A034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5" b="6961"/>
          <a:stretch/>
        </p:blipFill>
        <p:spPr>
          <a:xfrm>
            <a:off x="6915150" y="1075601"/>
            <a:ext cx="5276850" cy="5782399"/>
          </a:xfrm>
          <a:prstGeom prst="rect">
            <a:avLst/>
          </a:prstGeom>
        </p:spPr>
      </p:pic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CD4A95A7-CC45-4AFB-96BE-6972E37907F7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52E7292-5408-4D63-A23B-9FAE93552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5355F3C-E6E3-4C63-B953-DD5EB36C0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6607619" cy="332399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pic>
        <p:nvPicPr>
          <p:cNvPr id="9" name="Рисунок 3">
            <a:extLst>
              <a:ext uri="{FF2B5EF4-FFF2-40B4-BE49-F238E27FC236}">
                <a16:creationId xmlns:a16="http://schemas.microsoft.com/office/drawing/2014/main" id="{57AE9D31-0623-416B-A401-425C073177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699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с фото спике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амка 29">
            <a:extLst>
              <a:ext uri="{FF2B5EF4-FFF2-40B4-BE49-F238E27FC236}">
                <a16:creationId xmlns:a16="http://schemas.microsoft.com/office/drawing/2014/main" id="{0834A1E9-DEA2-4810-98C1-4864B91A12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944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30">
            <a:extLst>
              <a:ext uri="{FF2B5EF4-FFF2-40B4-BE49-F238E27FC236}">
                <a16:creationId xmlns:a16="http://schemas.microsoft.com/office/drawing/2014/main" id="{F132133A-891C-4552-A97F-33204B2F7CB0}"/>
              </a:ext>
            </a:extLst>
          </p:cNvPr>
          <p:cNvCxnSpPr>
            <a:cxnSpLocks/>
          </p:cNvCxnSpPr>
          <p:nvPr userDrawn="1"/>
        </p:nvCxnSpPr>
        <p:spPr>
          <a:xfrm>
            <a:off x="914400" y="1402080"/>
            <a:ext cx="0" cy="348234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1D79935-82BE-423B-BC88-EC03A5F2D4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6466" y="1341120"/>
            <a:ext cx="50570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EAB0D41-54FA-455A-B04F-360320D6BD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6466" y="1833563"/>
            <a:ext cx="50570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6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9144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1600" indent="0">
              <a:buFont typeface="Arial" panose="020B0604020202020204" pitchFamily="34" charset="0"/>
              <a:buNone/>
              <a:defRPr lang="en-US" sz="3200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>
              <a:buFont typeface="Arial" panose="020B0604020202020204" pitchFamily="34" charset="0"/>
              <a:buNone/>
              <a:defRPr lang="ru-RU" sz="3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20C9937-63C3-4E89-8622-8FB346561E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561" y="4955043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Название мероприятия</a:t>
            </a:r>
            <a:endParaRPr lang="en-US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C5D5843-46DE-4D8B-BA27-CEC322CDA7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561" y="5253491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2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F40A111E-33E1-44D3-8428-8D9283B2337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48960" y="433951"/>
            <a:ext cx="4550840" cy="6424049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pic>
        <p:nvPicPr>
          <p:cNvPr id="13" name="Рисунок 10">
            <a:extLst>
              <a:ext uri="{FF2B5EF4-FFF2-40B4-BE49-F238E27FC236}">
                <a16:creationId xmlns:a16="http://schemas.microsoft.com/office/drawing/2014/main" id="{9BBD9097-5ECA-4B21-8F30-BFE9F09B9C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3CFDCE0-2466-4487-9C1B-CE8ABA894EAF}"/>
              </a:ext>
            </a:extLst>
          </p:cNvPr>
          <p:cNvCxnSpPr/>
          <p:nvPr userDrawn="1"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94EE294-1963-41DE-8495-BB193D103F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42273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436381B5-2874-4CCA-A61B-B4BDD05B9C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t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C0D8309-28B8-4E0E-B60C-F6DF2EAA12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446892"/>
            <a:ext cx="12192001" cy="457449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368F232-4EDA-4308-9BC4-CE2AD87F14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2850" y="1951038"/>
            <a:ext cx="4686300" cy="3323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Вопрос</a:t>
            </a:r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3F6F0B4-EAF1-432E-AB16-AA9627F1D7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5080079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446892"/>
            <a:ext cx="12192000" cy="4574495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t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7DB0182-0900-49CB-8632-A064AA672F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446892"/>
            <a:ext cx="12192001" cy="4574495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52850" y="750888"/>
            <a:ext cx="4686300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8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Вопрос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A159CEF-90A6-4569-9B57-0757D037C8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  <p:pic>
        <p:nvPicPr>
          <p:cNvPr id="7" name="Рисунок 10">
            <a:extLst>
              <a:ext uri="{FF2B5EF4-FFF2-40B4-BE49-F238E27FC236}">
                <a16:creationId xmlns:a16="http://schemas.microsoft.com/office/drawing/2014/main" id="{34AEDF31-09C5-4B8A-A6D7-F023E33530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87432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вопросом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9">
            <a:extLst>
              <a:ext uri="{FF2B5EF4-FFF2-40B4-BE49-F238E27FC236}">
                <a16:creationId xmlns:a16="http://schemas.microsoft.com/office/drawing/2014/main" id="{5714FDBB-C50A-4F9F-A96C-17853B9D35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4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937" t="5444" r="16938" b="15134"/>
          <a:stretch/>
        </p:blipFill>
        <p:spPr>
          <a:xfrm>
            <a:off x="6745917" y="663073"/>
            <a:ext cx="5425440" cy="6194927"/>
          </a:xfrm>
          <a:prstGeom prst="rect">
            <a:avLst/>
          </a:prstGeom>
        </p:spPr>
      </p:pic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6E97C4FE-CB97-4C1E-B4C4-ECC5269A7C19}"/>
              </a:ext>
            </a:extLst>
          </p:cNvPr>
          <p:cNvSpPr/>
          <p:nvPr userDrawn="1"/>
        </p:nvSpPr>
        <p:spPr>
          <a:xfrm>
            <a:off x="6725275" y="352425"/>
            <a:ext cx="5466725" cy="6505575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uclid Circular A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507CC24-3842-40FB-B371-67EEA4221B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21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A159CEF-90A6-4569-9B57-0757D037C8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200" y="3287895"/>
            <a:ext cx="8229600" cy="892488"/>
          </a:xfrm>
        </p:spPr>
        <p:txBody>
          <a:bodyPr anchor="ctr"/>
          <a:lstStyle>
            <a:lvl1pPr algn="ctr">
              <a:lnSpc>
                <a:spcPts val="3600"/>
              </a:lnSpc>
              <a:defRPr sz="2800" cap="all" baseline="0">
                <a:solidFill>
                  <a:schemeClr val="bg2"/>
                </a:solidFill>
              </a:defRPr>
            </a:lvl1pPr>
          </a:lstStyle>
          <a:p>
            <a:r>
              <a:rPr lang="ru-RU"/>
              <a:t>вопрос с большим количеством текста в несколько строк</a:t>
            </a:r>
          </a:p>
        </p:txBody>
      </p:sp>
      <p:pic>
        <p:nvPicPr>
          <p:cNvPr id="7" name="Рисунок 10">
            <a:extLst>
              <a:ext uri="{FF2B5EF4-FFF2-40B4-BE49-F238E27FC236}">
                <a16:creationId xmlns:a16="http://schemas.microsoft.com/office/drawing/2014/main" id="{34AEDF31-09C5-4B8A-A6D7-F023E33530A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3812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роткая фраза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D5F857E-104E-4CB8-9B97-DFEEBCDC77A5}"/>
              </a:ext>
            </a:extLst>
          </p:cNvPr>
          <p:cNvSpPr/>
          <p:nvPr userDrawn="1"/>
        </p:nvSpPr>
        <p:spPr>
          <a:xfrm>
            <a:off x="-1" y="1141753"/>
            <a:ext cx="7354754" cy="4574495"/>
          </a:xfrm>
          <a:custGeom>
            <a:avLst/>
            <a:gdLst>
              <a:gd name="connsiteX0" fmla="*/ 0 w 7354754"/>
              <a:gd name="connsiteY0" fmla="*/ 0 h 4574495"/>
              <a:gd name="connsiteX1" fmla="*/ 7354754 w 7354754"/>
              <a:gd name="connsiteY1" fmla="*/ 0 h 4574495"/>
              <a:gd name="connsiteX2" fmla="*/ 6256130 w 7354754"/>
              <a:gd name="connsiteY2" fmla="*/ 4574495 h 4574495"/>
              <a:gd name="connsiteX3" fmla="*/ 0 w 7354754"/>
              <a:gd name="connsiteY3" fmla="*/ 4574495 h 4574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54754" h="4574495">
                <a:moveTo>
                  <a:pt x="0" y="0"/>
                </a:moveTo>
                <a:lnTo>
                  <a:pt x="7354754" y="0"/>
                </a:lnTo>
                <a:lnTo>
                  <a:pt x="6256130" y="4574495"/>
                </a:lnTo>
                <a:lnTo>
                  <a:pt x="0" y="4574495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1" name="Рисунок 82">
            <a:extLst>
              <a:ext uri="{FF2B5EF4-FFF2-40B4-BE49-F238E27FC236}">
                <a16:creationId xmlns:a16="http://schemas.microsoft.com/office/drawing/2014/main" id="{C9CA1AE7-E8C7-4A85-8AFC-AD924F33D6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r="23520" b="35217"/>
          <a:stretch/>
        </p:blipFill>
        <p:spPr>
          <a:xfrm>
            <a:off x="3579971" y="2120900"/>
            <a:ext cx="3595042" cy="3721889"/>
          </a:xfrm>
          <a:prstGeom prst="rect">
            <a:avLst/>
          </a:prstGeom>
        </p:spPr>
      </p:pic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B2E4D1C-5BCE-442C-A13D-F006CA583C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45582" y="0"/>
            <a:ext cx="5646418" cy="6858000"/>
          </a:xfrm>
          <a:custGeom>
            <a:avLst/>
            <a:gdLst>
              <a:gd name="connsiteX0" fmla="*/ 1636395 w 5646418"/>
              <a:gd name="connsiteY0" fmla="*/ 0 h 6858000"/>
              <a:gd name="connsiteX1" fmla="*/ 5646418 w 5646418"/>
              <a:gd name="connsiteY1" fmla="*/ 0 h 6858000"/>
              <a:gd name="connsiteX2" fmla="*/ 5646418 w 5646418"/>
              <a:gd name="connsiteY2" fmla="*/ 6858000 h 6858000"/>
              <a:gd name="connsiteX3" fmla="*/ 0 w 564641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46418" h="6858000">
                <a:moveTo>
                  <a:pt x="1636395" y="0"/>
                </a:moveTo>
                <a:lnTo>
                  <a:pt x="5646418" y="0"/>
                </a:lnTo>
                <a:lnTo>
                  <a:pt x="5646418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sp>
        <p:nvSpPr>
          <p:cNvPr id="10" name="Заголовок 6">
            <a:extLst>
              <a:ext uri="{FF2B5EF4-FFF2-40B4-BE49-F238E27FC236}">
                <a16:creationId xmlns:a16="http://schemas.microsoft.com/office/drawing/2014/main" id="{F586D425-74B3-4E43-B34F-1174306171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2875003"/>
            <a:ext cx="4889500" cy="1107996"/>
          </a:xfrm>
        </p:spPr>
        <p:txBody>
          <a:bodyPr anchor="ctr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Крупная короткая фраза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C067C3-07A2-49F7-98B6-8D64BBEE3E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400" y="2361099"/>
            <a:ext cx="488950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866F56C-B103-47FC-8B84-4F5467FF75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4168468"/>
            <a:ext cx="4889500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8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яснительный текст</a:t>
            </a:r>
          </a:p>
        </p:txBody>
      </p:sp>
      <p:pic>
        <p:nvPicPr>
          <p:cNvPr id="9" name="Рисунок 10">
            <a:extLst>
              <a:ext uri="{FF2B5EF4-FFF2-40B4-BE49-F238E27FC236}">
                <a16:creationId xmlns:a16="http://schemas.microsoft.com/office/drawing/2014/main" id="{B70289F3-2DD9-4378-BB81-B4F948A75F5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4400" y="497955"/>
            <a:ext cx="1549695" cy="471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231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роткая фраза без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452E7292-5408-4D63-A23B-9FAE93552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1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40BE061-5F58-422F-A512-9463E3277201}"/>
              </a:ext>
            </a:extLst>
          </p:cNvPr>
          <p:cNvSpPr/>
          <p:nvPr userDrawn="1"/>
        </p:nvSpPr>
        <p:spPr>
          <a:xfrm>
            <a:off x="-1" y="1141753"/>
            <a:ext cx="12192000" cy="457449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59C1733-F1DE-4FBF-8EA8-C8FEE7948A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70000" contrast="-70000"/>
            <a:alphaModFix amt="36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705" t="21702" r="8705" b="6617"/>
          <a:stretch/>
        </p:blipFill>
        <p:spPr>
          <a:xfrm>
            <a:off x="21716" y="1141753"/>
            <a:ext cx="12192000" cy="4574495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03E8EC5-9DB4-4A6C-A7A6-D4BF7DFE2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‹#›</a:t>
            </a:fld>
            <a:endParaRPr lang="ru-RU" sz="1000"/>
          </a:p>
        </p:txBody>
      </p:sp>
      <p:cxnSp>
        <p:nvCxnSpPr>
          <p:cNvPr id="8" name="Прямая соединительная линия 5">
            <a:extLst>
              <a:ext uri="{FF2B5EF4-FFF2-40B4-BE49-F238E27FC236}">
                <a16:creationId xmlns:a16="http://schemas.microsoft.com/office/drawing/2014/main" id="{397FC5C2-F13C-4545-9772-EC697CBFC059}"/>
              </a:ext>
            </a:extLst>
          </p:cNvPr>
          <p:cNvCxnSpPr>
            <a:cxnSpLocks/>
          </p:cNvCxnSpPr>
          <p:nvPr userDrawn="1"/>
        </p:nvCxnSpPr>
        <p:spPr>
          <a:xfrm>
            <a:off x="658813" y="6697548"/>
            <a:ext cx="354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82">
            <a:extLst>
              <a:ext uri="{FF2B5EF4-FFF2-40B4-BE49-F238E27FC236}">
                <a16:creationId xmlns:a16="http://schemas.microsoft.com/office/drawing/2014/main" id="{69F71186-8403-4694-AD30-E0138038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" r="23520" b="35217"/>
          <a:stretch/>
        </p:blipFill>
        <p:spPr>
          <a:xfrm>
            <a:off x="8278116" y="1664267"/>
            <a:ext cx="3913884" cy="4051981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24A8AFAC-E4B3-4B1C-9D19-1914F6B0B6E4}"/>
              </a:ext>
            </a:extLst>
          </p:cNvPr>
          <p:cNvGrpSpPr/>
          <p:nvPr userDrawn="1"/>
        </p:nvGrpSpPr>
        <p:grpSpPr>
          <a:xfrm>
            <a:off x="-1" y="971550"/>
            <a:ext cx="12213717" cy="4914900"/>
            <a:chOff x="-1" y="958707"/>
            <a:chExt cx="12213717" cy="4914900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8EA4ED0F-1C60-4B2D-8732-019F0A5B55E6}"/>
                </a:ext>
              </a:extLst>
            </p:cNvPr>
            <p:cNvCxnSpPr/>
            <p:nvPr userDrawn="1"/>
          </p:nvCxnSpPr>
          <p:spPr>
            <a:xfrm>
              <a:off x="-1" y="958707"/>
              <a:ext cx="12213717" cy="0"/>
            </a:xfrm>
            <a:prstGeom prst="line">
              <a:avLst/>
            </a:prstGeom>
            <a:ln w="50800">
              <a:gradFill>
                <a:gsLst>
                  <a:gs pos="0">
                    <a:schemeClr val="accent6"/>
                  </a:gs>
                  <a:gs pos="100000">
                    <a:schemeClr val="accent6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623C465-EB69-451D-83EB-77C16C5C07E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" y="5873607"/>
              <a:ext cx="12213717" cy="0"/>
            </a:xfrm>
            <a:prstGeom prst="line">
              <a:avLst/>
            </a:prstGeom>
            <a:ln w="50800">
              <a:gradFill>
                <a:gsLst>
                  <a:gs pos="0">
                    <a:schemeClr val="accent6"/>
                  </a:gs>
                  <a:gs pos="100000">
                    <a:schemeClr val="accent6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Заголовок 6">
            <a:extLst>
              <a:ext uri="{FF2B5EF4-FFF2-40B4-BE49-F238E27FC236}">
                <a16:creationId xmlns:a16="http://schemas.microsoft.com/office/drawing/2014/main" id="{892C7CF8-ECA8-456D-8502-12A805011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4500" y="3172183"/>
            <a:ext cx="8763000" cy="1107996"/>
          </a:xfrm>
        </p:spPr>
        <p:txBody>
          <a:bodyPr anchor="ctr"/>
          <a:lstStyle>
            <a:lvl1pPr algn="ctr"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Крупная</a:t>
            </a:r>
            <a:br>
              <a:rPr lang="ru-RU"/>
            </a:br>
            <a:r>
              <a:rPr lang="ru-RU"/>
              <a:t>короткая фраза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CFAC486-CBF0-4911-B71D-B6454A7C14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43175" y="2658279"/>
            <a:ext cx="710565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52D4709-CFED-4B57-9602-F4092BAE5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43175" y="4465648"/>
            <a:ext cx="7105650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en-US" sz="18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2pPr>
            <a:lvl3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3pPr>
            <a:lvl4pPr>
              <a:defRPr lang="en-US" sz="2400" kern="1200" cap="none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4pPr>
            <a:lvl5pPr>
              <a:defRPr lang="ru-RU" sz="2400" kern="1200" cap="none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ru-RU"/>
              <a:t>пояснительный текст</a:t>
            </a:r>
          </a:p>
        </p:txBody>
      </p:sp>
    </p:spTree>
    <p:extLst>
      <p:ext uri="{BB962C8B-B14F-4D97-AF65-F5344CB8AC3E}">
        <p14:creationId xmlns:p14="http://schemas.microsoft.com/office/powerpoint/2010/main" val="1258873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A4A3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D262FE5-846C-4B2F-923C-650BED95D931}"/>
              </a:ext>
            </a:extLst>
          </p:cNvPr>
          <p:cNvSpPr txBox="1"/>
          <p:nvPr userDrawn="1"/>
        </p:nvSpPr>
        <p:spPr>
          <a:xfrm>
            <a:off x="6234433" y="-2001"/>
            <a:ext cx="1295226" cy="30777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20000">
                <a:solidFill>
                  <a:schemeClr val="accent6"/>
                </a:soli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20000">
              <a:solidFill>
                <a:schemeClr val="accent6"/>
              </a:solidFill>
              <a:latin typeface="+mj-lt"/>
              <a:ea typeface="Euclid Circular A" panose="020B0504000000000000" pitchFamily="34" charset="-52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AFD724-3059-4751-BABB-102909D41311}"/>
              </a:ext>
            </a:extLst>
          </p:cNvPr>
          <p:cNvSpPr/>
          <p:nvPr userDrawn="1"/>
        </p:nvSpPr>
        <p:spPr>
          <a:xfrm>
            <a:off x="1482343" y="614861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62000"/>
                </a:schemeClr>
              </a:gs>
              <a:gs pos="97000">
                <a:schemeClr val="accent1">
                  <a:alpha val="0"/>
                </a:schemeClr>
              </a:gs>
            </a:gsLst>
            <a:lin ang="27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92200" y="907469"/>
            <a:ext cx="4535424" cy="5043062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7926" y="1756728"/>
            <a:ext cx="433748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83F5249-2463-46E3-B45E-777E64BB2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96480" y="5102216"/>
            <a:ext cx="359892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Имя автора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1545B6-DADB-4484-8C32-B3BB13B767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6480" y="5436324"/>
            <a:ext cx="3598926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160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  <p:pic>
        <p:nvPicPr>
          <p:cNvPr id="11" name="Рисунок 3">
            <a:extLst>
              <a:ext uri="{FF2B5EF4-FFF2-40B4-BE49-F238E27FC236}">
                <a16:creationId xmlns:a16="http://schemas.microsoft.com/office/drawing/2014/main" id="{5C2C95C0-EB9D-4992-8A65-1969B31A90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34121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Цитат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238C7C2-B5D1-4CCE-88E7-6EF5FD003A17}"/>
              </a:ext>
            </a:extLst>
          </p:cNvPr>
          <p:cNvSpPr txBox="1"/>
          <p:nvPr userDrawn="1"/>
        </p:nvSpPr>
        <p:spPr>
          <a:xfrm>
            <a:off x="538548" y="314325"/>
            <a:ext cx="1865895" cy="443198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28800">
                <a:solidFill>
                  <a:schemeClr val="accent6">
                    <a:alpha val="12000"/>
                  </a:schemeClr>
                </a:soli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28800">
              <a:solidFill>
                <a:schemeClr val="accent6">
                  <a:alpha val="12000"/>
                </a:schemeClr>
              </a:solidFill>
              <a:latin typeface="+mj-lt"/>
              <a:ea typeface="Euclid Circular A" panose="020B0504000000000000" pitchFamily="34" charset="-52"/>
            </a:endParaRPr>
          </a:p>
        </p:txBody>
      </p:sp>
      <p:pic>
        <p:nvPicPr>
          <p:cNvPr id="13" name="Рисунок 3">
            <a:extLst>
              <a:ext uri="{FF2B5EF4-FFF2-40B4-BE49-F238E27FC236}">
                <a16:creationId xmlns:a16="http://schemas.microsoft.com/office/drawing/2014/main" id="{CF8D0A9C-1D58-48EE-946B-F318B81923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495" y="311312"/>
            <a:ext cx="1176000" cy="360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3AFD724-3059-4751-BABB-102909D41311}"/>
              </a:ext>
            </a:extLst>
          </p:cNvPr>
          <p:cNvSpPr/>
          <p:nvPr userDrawn="1"/>
        </p:nvSpPr>
        <p:spPr>
          <a:xfrm>
            <a:off x="5619320" y="0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20000"/>
                </a:schemeClr>
              </a:gs>
              <a:gs pos="50000">
                <a:schemeClr val="accent1">
                  <a:alpha val="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8AE5D02-CB2E-4153-A775-5875A722BA6A}"/>
              </a:ext>
            </a:extLst>
          </p:cNvPr>
          <p:cNvSpPr/>
          <p:nvPr userDrawn="1"/>
        </p:nvSpPr>
        <p:spPr>
          <a:xfrm>
            <a:off x="6055540" y="0"/>
            <a:ext cx="4535424" cy="5043062"/>
          </a:xfrm>
          <a:prstGeom prst="rect">
            <a:avLst/>
          </a:prstGeom>
          <a:gradFill>
            <a:gsLst>
              <a:gs pos="0">
                <a:schemeClr val="accent1">
                  <a:alpha val="20000"/>
                </a:schemeClr>
              </a:gs>
              <a:gs pos="63000">
                <a:schemeClr val="accent1">
                  <a:alpha val="0"/>
                </a:schemeClr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A2426C6-F07B-4ACF-9D84-58B60D24F9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96230" y="0"/>
            <a:ext cx="579577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706E94-AE5D-435C-BFA6-B89A1C872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1754112"/>
            <a:ext cx="4513405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36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83F5249-2463-46E3-B45E-777E64BB2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678" y="5102216"/>
            <a:ext cx="450626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Имя автора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1545B6-DADB-4484-8C32-B3BB13B767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4678" y="5436324"/>
            <a:ext cx="4506265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160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6163632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277566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2445A4-9D8F-478E-A168-02E48382C3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3724273"/>
            <a:ext cx="8137645" cy="2620963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4043983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5802484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5503759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3345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_много текста с плейсхолдер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392E15E-3CBD-4274-846D-E1EE3C9233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2">
                <a:lumMod val="20000"/>
                <a:lumOff val="80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lang="ru-RU" sz="140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ru-RU"/>
              <a:t>Фотография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2445A4-9D8F-478E-A168-02E48382C3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3724273"/>
            <a:ext cx="12192001" cy="2620963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/>
              <a:t>-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EA542E-FC3E-450E-9732-E4DA99B10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6467" y="4043983"/>
            <a:ext cx="6484936" cy="1354153"/>
          </a:xfrm>
        </p:spPr>
        <p:txBody>
          <a:bodyPr/>
          <a:lstStyle>
            <a:lvl1pPr>
              <a:lnSpc>
                <a:spcPts val="3600"/>
              </a:lnSpc>
              <a:defRPr sz="2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 с большим количеством текста в несколько строк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F88DD98C-1A12-4C77-98E5-B225323E09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6467" y="5802484"/>
            <a:ext cx="525982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Дата</a:t>
            </a:r>
            <a:endParaRPr lang="en-US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CE61F6F-6ACE-4BD7-94EF-48551D558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6467" y="5503759"/>
            <a:ext cx="525982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817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7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118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theme" Target="../theme/theme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10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32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Relationship Id="rId9" Type="http://schemas.openxmlformats.org/officeDocument/2006/relationships/image" Target="../media/image20.sv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36.xml"/><Relationship Id="rId4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4D94C8D-D735-4ACD-99AD-CE38B34642DD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99C9BD-21E9-449D-AC34-AE646E1CF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8431847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DA02ED60-1E16-4472-862A-F4BCE8A240EB}"/>
              </a:ext>
            </a:extLst>
          </p:cNvPr>
          <p:cNvCxnSpPr>
            <a:cxnSpLocks/>
          </p:cNvCxnSpPr>
          <p:nvPr userDrawn="1"/>
        </p:nvCxnSpPr>
        <p:spPr>
          <a:xfrm>
            <a:off x="658813" y="6697548"/>
            <a:ext cx="354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461ADE5-6B1A-42B3-AC44-51DD66BC5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200" y="6620603"/>
            <a:ext cx="4572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B6AA8A74-8566-41AB-BE36-77E5736D8C67}" type="slidenum">
              <a:rPr lang="ru-RU" smtClean="0"/>
              <a:pPr/>
              <a:t>‹#›</a:t>
            </a:fld>
            <a:endParaRPr lang="ru-RU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91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  <p:sldLayoutId id="2147483857" r:id="rId22"/>
    <p:sldLayoutId id="2147483858" r:id="rId23"/>
    <p:sldLayoutId id="2147483859" r:id="rId24"/>
    <p:sldLayoutId id="2147483860" r:id="rId25"/>
    <p:sldLayoutId id="2147483861" r:id="rId26"/>
    <p:sldLayoutId id="2147483799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966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 userDrawn="1">
          <p15:clr>
            <a:srgbClr val="A4A3A4"/>
          </p15:clr>
        </p15:guide>
        <p15:guide id="3" pos="688" userDrawn="1">
          <p15:clr>
            <a:srgbClr val="A4A3A4"/>
          </p15:clr>
        </p15:guide>
        <p15:guide id="4" pos="6992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4D94C8D-D735-4ACD-99AD-CE38B34642DD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99C9BD-21E9-449D-AC34-AE646E1CF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8431847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DA02ED60-1E16-4472-862A-F4BCE8A240EB}"/>
              </a:ext>
            </a:extLst>
          </p:cNvPr>
          <p:cNvCxnSpPr>
            <a:cxnSpLocks/>
          </p:cNvCxnSpPr>
          <p:nvPr userDrawn="1"/>
        </p:nvCxnSpPr>
        <p:spPr>
          <a:xfrm>
            <a:off x="658813" y="6697548"/>
            <a:ext cx="354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461ADE5-6B1A-42B3-AC44-51DD66BC5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200" y="6620603"/>
            <a:ext cx="4572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B6AA8A74-8566-41AB-BE36-77E5736D8C67}" type="slidenum">
              <a:rPr lang="ru-RU" smtClean="0"/>
              <a:pPr/>
              <a:t>‹#›</a:t>
            </a:fld>
            <a:endParaRPr lang="ru-RU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842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  <p:sldLayoutId id="2147483879" r:id="rId12"/>
    <p:sldLayoutId id="2147483880" r:id="rId13"/>
    <p:sldLayoutId id="2147483881" r:id="rId14"/>
    <p:sldLayoutId id="2147483882" r:id="rId15"/>
    <p:sldLayoutId id="2147483883" r:id="rId16"/>
    <p:sldLayoutId id="2147483884" r:id="rId17"/>
    <p:sldLayoutId id="2147483885" r:id="rId18"/>
    <p:sldLayoutId id="2147483886" r:id="rId19"/>
    <p:sldLayoutId id="2147483887" r:id="rId20"/>
    <p:sldLayoutId id="2147483888" r:id="rId21"/>
    <p:sldLayoutId id="2147483889" r:id="rId22"/>
    <p:sldLayoutId id="2147483890" r:id="rId23"/>
    <p:sldLayoutId id="2147483891" r:id="rId24"/>
    <p:sldLayoutId id="2147483892" r:id="rId25"/>
    <p:sldLayoutId id="2147483893" r:id="rId26"/>
    <p:sldLayoutId id="2147483963" r:id="rId27"/>
    <p:sldLayoutId id="2147483894" r:id="rId28"/>
    <p:sldLayoutId id="2147483895" r:id="rId29"/>
    <p:sldLayoutId id="2147483896" r:id="rId30"/>
    <p:sldLayoutId id="2147483897" r:id="rId31"/>
    <p:sldLayoutId id="2147483898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 userDrawn="1">
          <p15:clr>
            <a:srgbClr val="A4A3A4"/>
          </p15:clr>
        </p15:guide>
        <p15:guide id="3" pos="688" userDrawn="1">
          <p15:clr>
            <a:srgbClr val="A4A3A4"/>
          </p15:clr>
        </p15:guide>
        <p15:guide id="4" pos="6992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4D94C8D-D735-4ACD-99AD-CE38B34642DD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99C9BD-21E9-449D-AC34-AE646E1CF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8431847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DA02ED60-1E16-4472-862A-F4BCE8A240EB}"/>
              </a:ext>
            </a:extLst>
          </p:cNvPr>
          <p:cNvCxnSpPr>
            <a:cxnSpLocks/>
          </p:cNvCxnSpPr>
          <p:nvPr userDrawn="1"/>
        </p:nvCxnSpPr>
        <p:spPr>
          <a:xfrm>
            <a:off x="658813" y="6697548"/>
            <a:ext cx="354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461ADE5-6B1A-42B3-AC44-51DD66BC5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200" y="6620603"/>
            <a:ext cx="4572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B6AA8A74-8566-41AB-BE36-77E5736D8C67}" type="slidenum">
              <a:rPr lang="ru-RU" smtClean="0"/>
              <a:pPr/>
              <a:t>‹#›</a:t>
            </a:fld>
            <a:endParaRPr lang="ru-RU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019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17" r:id="rId18"/>
    <p:sldLayoutId id="2147483918" r:id="rId19"/>
    <p:sldLayoutId id="2147483919" r:id="rId20"/>
    <p:sldLayoutId id="2147483920" r:id="rId21"/>
    <p:sldLayoutId id="2147483921" r:id="rId22"/>
    <p:sldLayoutId id="2147483922" r:id="rId23"/>
    <p:sldLayoutId id="2147483923" r:id="rId24"/>
    <p:sldLayoutId id="2147483924" r:id="rId25"/>
    <p:sldLayoutId id="2147483925" r:id="rId26"/>
    <p:sldLayoutId id="2147483964" r:id="rId27"/>
    <p:sldLayoutId id="2147483926" r:id="rId28"/>
    <p:sldLayoutId id="2147483927" r:id="rId29"/>
    <p:sldLayoutId id="2147483928" r:id="rId30"/>
    <p:sldLayoutId id="2147483929" r:id="rId31"/>
    <p:sldLayoutId id="2147483930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 userDrawn="1">
          <p15:clr>
            <a:srgbClr val="A4A3A4"/>
          </p15:clr>
        </p15:guide>
        <p15:guide id="3" pos="688" userDrawn="1">
          <p15:clr>
            <a:srgbClr val="A4A3A4"/>
          </p15:clr>
        </p15:guide>
        <p15:guide id="4" pos="6992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4D94C8D-D735-4ACD-99AD-CE38B34642DD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99C9BD-21E9-449D-AC34-AE646E1CF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8431847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DA02ED60-1E16-4472-862A-F4BCE8A240EB}"/>
              </a:ext>
            </a:extLst>
          </p:cNvPr>
          <p:cNvCxnSpPr>
            <a:cxnSpLocks/>
          </p:cNvCxnSpPr>
          <p:nvPr userDrawn="1"/>
        </p:nvCxnSpPr>
        <p:spPr>
          <a:xfrm>
            <a:off x="658813" y="6697548"/>
            <a:ext cx="354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461ADE5-6B1A-42B3-AC44-51DD66BC5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200" y="6620603"/>
            <a:ext cx="4572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B6AA8A74-8566-41AB-BE36-77E5736D8C67}" type="slidenum">
              <a:rPr lang="ru-RU" smtClean="0"/>
              <a:pPr/>
              <a:t>‹#›</a:t>
            </a:fld>
            <a:endParaRPr lang="ru-RU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559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  <p:sldLayoutId id="2147483953" r:id="rId22"/>
    <p:sldLayoutId id="2147483954" r:id="rId23"/>
    <p:sldLayoutId id="2147483955" r:id="rId24"/>
    <p:sldLayoutId id="2147483956" r:id="rId25"/>
    <p:sldLayoutId id="2147483957" r:id="rId26"/>
    <p:sldLayoutId id="2147483965" r:id="rId27"/>
    <p:sldLayoutId id="2147483958" r:id="rId28"/>
    <p:sldLayoutId id="2147483959" r:id="rId29"/>
    <p:sldLayoutId id="2147483960" r:id="rId30"/>
    <p:sldLayoutId id="2147483961" r:id="rId31"/>
    <p:sldLayoutId id="2147483962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 userDrawn="1">
          <p15:clr>
            <a:srgbClr val="A4A3A4"/>
          </p15:clr>
        </p15:guide>
        <p15:guide id="3" pos="688" userDrawn="1">
          <p15:clr>
            <a:srgbClr val="A4A3A4"/>
          </p15:clr>
        </p15:guide>
        <p15:guide id="4" pos="6992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99C9BD-21E9-449D-AC34-AE646E1CF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8431847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headline</a:t>
            </a:r>
            <a:endParaRPr lang="ru-RU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DA02ED60-1E16-4472-862A-F4BCE8A240EB}"/>
              </a:ext>
            </a:extLst>
          </p:cNvPr>
          <p:cNvCxnSpPr>
            <a:cxnSpLocks/>
          </p:cNvCxnSpPr>
          <p:nvPr userDrawn="1"/>
        </p:nvCxnSpPr>
        <p:spPr>
          <a:xfrm>
            <a:off x="658813" y="6697548"/>
            <a:ext cx="354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461ADE5-6B1A-42B3-AC44-51DD66BC5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200" y="6620603"/>
            <a:ext cx="4572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B6AA8A74-8566-41AB-BE36-77E5736D8C67}" type="slidenum">
              <a:rPr lang="ru-RU" smtClean="0"/>
              <a:pPr/>
              <a:t>‹#›</a:t>
            </a:fld>
            <a:endParaRPr lang="ru-RU">
              <a:solidFill>
                <a:schemeClr val="accent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720EF02-168D-4373-8E99-1B778954DF8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34487" y="311312"/>
            <a:ext cx="1060704" cy="36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083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10" r:id="rId2"/>
    <p:sldLayoutId id="2147483811" r:id="rId3"/>
    <p:sldLayoutId id="2147483814" r:id="rId4"/>
    <p:sldLayoutId id="2147483815" r:id="rId5"/>
    <p:sldLayoutId id="214748383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 userDrawn="1">
          <p15:clr>
            <a:srgbClr val="A4A3A4"/>
          </p15:clr>
        </p15:guide>
        <p15:guide id="3" pos="688" userDrawn="1">
          <p15:clr>
            <a:srgbClr val="A4A3A4"/>
          </p15:clr>
        </p15:guide>
        <p15:guide id="4" pos="6992" userDrawn="1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4D94C8D-D735-4ACD-99AD-CE38B34642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32106" y="311312"/>
            <a:ext cx="1176000" cy="36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99C9BD-21E9-449D-AC34-AE646E1CF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8431847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DA02ED60-1E16-4472-862A-F4BCE8A240EB}"/>
              </a:ext>
            </a:extLst>
          </p:cNvPr>
          <p:cNvCxnSpPr>
            <a:cxnSpLocks/>
          </p:cNvCxnSpPr>
          <p:nvPr userDrawn="1"/>
        </p:nvCxnSpPr>
        <p:spPr>
          <a:xfrm>
            <a:off x="658813" y="6697548"/>
            <a:ext cx="35464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461ADE5-6B1A-42B3-AC44-51DD66BC5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200" y="6620603"/>
            <a:ext cx="4572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B6AA8A74-8566-41AB-BE36-77E5736D8C67}" type="slidenum">
              <a:rPr lang="ru-RU" smtClean="0"/>
              <a:pPr/>
              <a:t>‹#›</a:t>
            </a:fld>
            <a:endParaRPr lang="ru-RU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486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>
          <p15:clr>
            <a:srgbClr val="A4A3A4"/>
          </p15:clr>
        </p15:guide>
        <p15:guide id="3" pos="688">
          <p15:clr>
            <a:srgbClr val="A4A3A4"/>
          </p15:clr>
        </p15:guide>
        <p15:guide id="4" pos="699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.svg"/><Relationship Id="rId7" Type="http://schemas.openxmlformats.org/officeDocument/2006/relationships/image" Target="../media/image3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3.sv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.xml"/><Relationship Id="rId6" Type="http://schemas.openxmlformats.org/officeDocument/2006/relationships/image" Target="../media/image32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image" Target="../media/image40.svg"/><Relationship Id="rId7" Type="http://schemas.openxmlformats.org/officeDocument/2006/relationships/image" Target="../media/image44.svg"/><Relationship Id="rId12" Type="http://schemas.openxmlformats.org/officeDocument/2006/relationships/image" Target="../media/image49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sv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26" Type="http://schemas.openxmlformats.org/officeDocument/2006/relationships/image" Target="../media/image75.png"/><Relationship Id="rId3" Type="http://schemas.openxmlformats.org/officeDocument/2006/relationships/image" Target="../media/image52.svg"/><Relationship Id="rId21" Type="http://schemas.openxmlformats.org/officeDocument/2006/relationships/image" Target="../media/image70.png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17" Type="http://schemas.openxmlformats.org/officeDocument/2006/relationships/image" Target="../media/image66.png"/><Relationship Id="rId25" Type="http://schemas.openxmlformats.org/officeDocument/2006/relationships/image" Target="../media/image74.png"/><Relationship Id="rId2" Type="http://schemas.openxmlformats.org/officeDocument/2006/relationships/image" Target="../media/image51.png"/><Relationship Id="rId16" Type="http://schemas.openxmlformats.org/officeDocument/2006/relationships/image" Target="../media/image65.png"/><Relationship Id="rId20" Type="http://schemas.openxmlformats.org/officeDocument/2006/relationships/image" Target="../media/image69.png"/><Relationship Id="rId29" Type="http://schemas.openxmlformats.org/officeDocument/2006/relationships/image" Target="../media/image7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5.jpeg"/><Relationship Id="rId11" Type="http://schemas.openxmlformats.org/officeDocument/2006/relationships/image" Target="../media/image60.svg"/><Relationship Id="rId24" Type="http://schemas.openxmlformats.org/officeDocument/2006/relationships/image" Target="../media/image73.png"/><Relationship Id="rId5" Type="http://schemas.openxmlformats.org/officeDocument/2006/relationships/image" Target="../media/image54.svg"/><Relationship Id="rId15" Type="http://schemas.openxmlformats.org/officeDocument/2006/relationships/image" Target="../media/image64.png"/><Relationship Id="rId23" Type="http://schemas.openxmlformats.org/officeDocument/2006/relationships/image" Target="../media/image72.png"/><Relationship Id="rId28" Type="http://schemas.openxmlformats.org/officeDocument/2006/relationships/image" Target="../media/image77.png"/><Relationship Id="rId10" Type="http://schemas.openxmlformats.org/officeDocument/2006/relationships/image" Target="../media/image59.png"/><Relationship Id="rId19" Type="http://schemas.openxmlformats.org/officeDocument/2006/relationships/image" Target="../media/image68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Relationship Id="rId14" Type="http://schemas.openxmlformats.org/officeDocument/2006/relationships/image" Target="../media/image63.png"/><Relationship Id="rId22" Type="http://schemas.openxmlformats.org/officeDocument/2006/relationships/image" Target="../media/image71.png"/><Relationship Id="rId27" Type="http://schemas.openxmlformats.org/officeDocument/2006/relationships/image" Target="../media/image7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svg"/><Relationship Id="rId3" Type="http://schemas.openxmlformats.org/officeDocument/2006/relationships/image" Target="../media/image79.png"/><Relationship Id="rId7" Type="http://schemas.openxmlformats.org/officeDocument/2006/relationships/image" Target="../media/image80.svg"/><Relationship Id="rId12" Type="http://schemas.openxmlformats.org/officeDocument/2006/relationships/image" Target="../media/image8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3.png"/><Relationship Id="rId11" Type="http://schemas.openxmlformats.org/officeDocument/2006/relationships/image" Target="../media/image84.svg"/><Relationship Id="rId5" Type="http://schemas.openxmlformats.org/officeDocument/2006/relationships/image" Target="../media/image33.svg"/><Relationship Id="rId15" Type="http://schemas.openxmlformats.org/officeDocument/2006/relationships/image" Target="../media/image88.svg"/><Relationship Id="rId10" Type="http://schemas.openxmlformats.org/officeDocument/2006/relationships/image" Target="../media/image83.png"/><Relationship Id="rId4" Type="http://schemas.openxmlformats.org/officeDocument/2006/relationships/image" Target="../media/image32.png"/><Relationship Id="rId9" Type="http://schemas.openxmlformats.org/officeDocument/2006/relationships/image" Target="../media/image82.svg"/><Relationship Id="rId14" Type="http://schemas.openxmlformats.org/officeDocument/2006/relationships/image" Target="../media/image8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DF842859-BF03-4AD6-B60E-279E0C0C4B4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" t="20702" r="25373" b="20702"/>
          <a:stretch/>
        </p:blipFill>
        <p:spPr>
          <a:xfrm>
            <a:off x="0" y="1"/>
            <a:ext cx="12192000" cy="6858000"/>
          </a:xfr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CF11C63-3ADB-0C82-CA0D-EA77407C50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3724275"/>
            <a:ext cx="8137525" cy="2620963"/>
          </a:xfrm>
          <a:prstGeom prst="rect">
            <a:avLst/>
          </a:prstGeom>
          <a:solidFill>
            <a:schemeClr val="accent1"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smtClean="0">
                <a:solidFill>
                  <a:schemeClr val="lt1">
                    <a:alpha val="0"/>
                  </a:schemeClr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ru-RU">
                <a:solidFill>
                  <a:schemeClr val="lt1"/>
                </a:solidFill>
              </a:defRPr>
            </a:lvl5pPr>
          </a:lstStyle>
          <a:p>
            <a:pPr marL="0" lvl="0" algn="ctr"/>
            <a:r>
              <a:rPr lang="ru-RU" dirty="0"/>
              <a:t>-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8B19F4-A342-4AF9-9DE0-9A532DCF2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0716" y="3997828"/>
            <a:ext cx="6484936" cy="1355564"/>
          </a:xfrm>
        </p:spPr>
        <p:txBody>
          <a:bodyPr/>
          <a:lstStyle/>
          <a:p>
            <a:r>
              <a:rPr lang="ru-RU" sz="1500" dirty="0">
                <a:latin typeface="Inter" panose="02000503000000020004" pitchFamily="2" charset="0"/>
                <a:ea typeface="Inter" panose="02000503000000020004" pitchFamily="2" charset="0"/>
              </a:rPr>
              <a:t>Программа Бакалавриата</a:t>
            </a:r>
            <a:br>
              <a:rPr lang="ru-RU" sz="3600" dirty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sz="2800" b="1" dirty="0">
                <a:latin typeface="Inter" panose="02000503000000020004" pitchFamily="2" charset="0"/>
                <a:ea typeface="Inter" panose="02000503000000020004" pitchFamily="2" charset="0"/>
              </a:rPr>
              <a:t>«Международный</a:t>
            </a:r>
            <a:br>
              <a:rPr lang="ru-RU" sz="2800" b="1" dirty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sz="2800" b="1" dirty="0">
                <a:latin typeface="Inter" panose="02000503000000020004" pitchFamily="2" charset="0"/>
                <a:ea typeface="Inter" panose="02000503000000020004" pitchFamily="2" charset="0"/>
              </a:rPr>
              <a:t>менеджмент»</a:t>
            </a:r>
          </a:p>
        </p:txBody>
      </p:sp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D7C868A9-8897-8103-57CD-2D8DC20931C1}"/>
              </a:ext>
            </a:extLst>
          </p:cNvPr>
          <p:cNvCxnSpPr/>
          <p:nvPr/>
        </p:nvCxnSpPr>
        <p:spPr>
          <a:xfrm flipH="1">
            <a:off x="831315" y="4149804"/>
            <a:ext cx="0" cy="1838762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15">
            <a:extLst>
              <a:ext uri="{FF2B5EF4-FFF2-40B4-BE49-F238E27FC236}">
                <a16:creationId xmlns:a16="http://schemas.microsoft.com/office/drawing/2014/main" id="{C7F453FD-77D3-4131-9DCF-7378BAF6B9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30716" y="5822367"/>
            <a:ext cx="5259821" cy="166199"/>
          </a:xfrm>
        </p:spPr>
        <p:txBody>
          <a:bodyPr wrap="square" lIns="0" tIns="0" rIns="0" bIns="0" anchor="t">
            <a:spAutoFit/>
          </a:bodyPr>
          <a:lstStyle/>
          <a:p>
            <a:r>
              <a:rPr lang="en-GB" dirty="0">
                <a:latin typeface="Inter" panose="02000503000000020004" pitchFamily="2" charset="0"/>
                <a:ea typeface="Inter" panose="02000503000000020004" pitchFamily="2" charset="0"/>
              </a:rPr>
              <a:t>1 </a:t>
            </a:r>
            <a:r>
              <a:rPr lang="en-GB" dirty="0" err="1">
                <a:latin typeface="Inter" panose="02000503000000020004" pitchFamily="2" charset="0"/>
                <a:ea typeface="Inter" panose="02000503000000020004" pitchFamily="2" charset="0"/>
              </a:rPr>
              <a:t>марта</a:t>
            </a:r>
            <a:r>
              <a:rPr lang="en-GB" dirty="0">
                <a:latin typeface="Inter" panose="02000503000000020004" pitchFamily="2" charset="0"/>
                <a:ea typeface="Inter" panose="02000503000000020004" pitchFamily="2" charset="0"/>
              </a:rPr>
              <a:t> 2024</a:t>
            </a:r>
          </a:p>
        </p:txBody>
      </p:sp>
      <p:sp>
        <p:nvSpPr>
          <p:cNvPr id="10" name="Текст 15">
            <a:extLst>
              <a:ext uri="{FF2B5EF4-FFF2-40B4-BE49-F238E27FC236}">
                <a16:creationId xmlns:a16="http://schemas.microsoft.com/office/drawing/2014/main" id="{7C1EE9F1-E476-0594-260D-42BA7D10EBF5}"/>
              </a:ext>
            </a:extLst>
          </p:cNvPr>
          <p:cNvSpPr txBox="1">
            <a:spLocks/>
          </p:cNvSpPr>
          <p:nvPr/>
        </p:nvSpPr>
        <p:spPr>
          <a:xfrm>
            <a:off x="1130716" y="5505898"/>
            <a:ext cx="4143097" cy="20774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bg1"/>
                </a:solidFill>
                <a:latin typeface="Euclid Circular B Light" panose="020B0304000000000000" pitchFamily="34" charset="-52"/>
                <a:ea typeface="Euclid Circular B Light" panose="020B0304000000000000" pitchFamily="34" charset="-5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200" kern="1200" dirty="0" smtClean="0">
                <a:solidFill>
                  <a:schemeClr val="bg2"/>
                </a:solidFill>
                <a:latin typeface="Euclid Circular A Light" panose="020B0304000000000000" pitchFamily="34" charset="-52"/>
                <a:ea typeface="Euclid Circular A Light" panose="020B0304000000000000" pitchFamily="34" charset="-52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5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500" dirty="0" err="1">
                <a:latin typeface="Inter" panose="02000503000000020004" pitchFamily="2" charset="0"/>
                <a:ea typeface="Inter" panose="02000503000000020004" pitchFamily="2" charset="0"/>
              </a:rPr>
              <a:t>Онлайн-презентация</a:t>
            </a:r>
            <a:endParaRPr lang="en-GB" sz="1500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256E598C-9B45-FAD2-7498-32B60505F3FC}"/>
              </a:ext>
            </a:extLst>
          </p:cNvPr>
          <p:cNvCxnSpPr/>
          <p:nvPr/>
        </p:nvCxnSpPr>
        <p:spPr>
          <a:xfrm>
            <a:off x="2887278" y="497955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14">
            <a:extLst>
              <a:ext uri="{FF2B5EF4-FFF2-40B4-BE49-F238E27FC236}">
                <a16:creationId xmlns:a16="http://schemas.microsoft.com/office/drawing/2014/main" id="{6F1AF01F-1DCC-6778-E354-0DA7599AE6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9137" y="495215"/>
            <a:ext cx="1567363" cy="477023"/>
          </a:xfrm>
          <a:prstGeom prst="rect">
            <a:avLst/>
          </a:prstGeom>
        </p:spPr>
      </p:pic>
      <p:pic>
        <p:nvPicPr>
          <p:cNvPr id="11" name="Рисунок 1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4C1BEC1-BF0E-2954-B079-EEFE6B3EF3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8752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8321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9">
            <a:extLst>
              <a:ext uri="{FF2B5EF4-FFF2-40B4-BE49-F238E27FC236}">
                <a16:creationId xmlns:a16="http://schemas.microsoft.com/office/drawing/2014/main" id="{F112F6D2-3FD8-6497-1ED7-A651786D5C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1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705" r="8705"/>
          <a:stretch/>
        </p:blipFill>
        <p:spPr>
          <a:xfrm>
            <a:off x="21716" y="61913"/>
            <a:ext cx="12192000" cy="6381750"/>
          </a:xfrm>
          <a:prstGeom prst="rect">
            <a:avLst/>
          </a:prstGeom>
        </p:spPr>
      </p:pic>
      <p:sp>
        <p:nvSpPr>
          <p:cNvPr id="9" name="Rectangle 10">
            <a:extLst>
              <a:ext uri="{FF2B5EF4-FFF2-40B4-BE49-F238E27FC236}">
                <a16:creationId xmlns:a16="http://schemas.microsoft.com/office/drawing/2014/main" id="{1AE444BA-02B0-89C0-5A5B-4B0DA483667B}"/>
              </a:ext>
            </a:extLst>
          </p:cNvPr>
          <p:cNvSpPr/>
          <p:nvPr/>
        </p:nvSpPr>
        <p:spPr>
          <a:xfrm>
            <a:off x="-1" y="1141753"/>
            <a:ext cx="12192000" cy="457449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" name="Graphic 12">
            <a:extLst>
              <a:ext uri="{FF2B5EF4-FFF2-40B4-BE49-F238E27FC236}">
                <a16:creationId xmlns:a16="http://schemas.microsoft.com/office/drawing/2014/main" id="{2CEEC33A-D15F-6F67-2ABF-59EACDCE4AC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70000" contrast="-70000"/>
            <a:alphaModFix amt="36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705" t="21702" r="8705" b="6617"/>
          <a:stretch/>
        </p:blipFill>
        <p:spPr>
          <a:xfrm>
            <a:off x="21716" y="1141753"/>
            <a:ext cx="12192000" cy="4574495"/>
          </a:xfrm>
          <a:prstGeom prst="rect">
            <a:avLst/>
          </a:prstGeom>
        </p:spPr>
      </p:pic>
      <p:pic>
        <p:nvPicPr>
          <p:cNvPr id="11" name="Рисунок 82">
            <a:extLst>
              <a:ext uri="{FF2B5EF4-FFF2-40B4-BE49-F238E27FC236}">
                <a16:creationId xmlns:a16="http://schemas.microsoft.com/office/drawing/2014/main" id="{940B90A9-95BB-9CFE-46F1-E3EB631FB97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" r="23520" b="35217"/>
          <a:stretch/>
        </p:blipFill>
        <p:spPr>
          <a:xfrm>
            <a:off x="8278116" y="1664267"/>
            <a:ext cx="3913884" cy="4051981"/>
          </a:xfrm>
          <a:prstGeom prst="rect">
            <a:avLst/>
          </a:prstGeom>
        </p:spPr>
      </p:pic>
      <p:sp>
        <p:nvSpPr>
          <p:cNvPr id="18" name="Заголовок 6">
            <a:extLst>
              <a:ext uri="{FF2B5EF4-FFF2-40B4-BE49-F238E27FC236}">
                <a16:creationId xmlns:a16="http://schemas.microsoft.com/office/drawing/2014/main" id="{6ED69523-1A2B-C7C5-5D12-00630FDAE546}"/>
              </a:ext>
            </a:extLst>
          </p:cNvPr>
          <p:cNvSpPr txBox="1">
            <a:spLocks/>
          </p:cNvSpPr>
          <p:nvPr/>
        </p:nvSpPr>
        <p:spPr>
          <a:xfrm>
            <a:off x="1714500" y="2516971"/>
            <a:ext cx="8763000" cy="1824058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effectLst/>
                <a:latin typeface="Inter" panose="02000503000000020004" pitchFamily="2" charset="0"/>
                <a:ea typeface="Inter" panose="02000503000000020004" pitchFamily="2" charset="0"/>
              </a:rPr>
              <a:t>Присоединяйтесь </a:t>
            </a:r>
            <a:endParaRPr lang="en-US" sz="3600" b="1" dirty="0">
              <a:effectLst/>
              <a:latin typeface="Inter" panose="02000503000000020004" pitchFamily="2" charset="0"/>
              <a:ea typeface="Inter" panose="02000503000000020004" pitchFamily="2" charset="0"/>
            </a:endParaRPr>
          </a:p>
          <a:p>
            <a:r>
              <a:rPr lang="ru-RU" sz="3600" b="1" dirty="0">
                <a:effectLst/>
                <a:latin typeface="Inter" panose="02000503000000020004" pitchFamily="2" charset="0"/>
                <a:ea typeface="Inter" panose="02000503000000020004" pitchFamily="2" charset="0"/>
              </a:rPr>
              <a:t>к программе</a:t>
            </a:r>
            <a:br>
              <a:rPr lang="en-US" sz="3600" b="1" dirty="0">
                <a:effectLst/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sz="3600" b="1" dirty="0">
                <a:effectLst/>
                <a:latin typeface="Inter" panose="02000503000000020004" pitchFamily="2" charset="0"/>
                <a:ea typeface="Inter" panose="02000503000000020004" pitchFamily="2" charset="0"/>
              </a:rPr>
              <a:t>«Международный менеджмент»</a:t>
            </a:r>
            <a:endParaRPr lang="ru-RU" sz="3600" b="1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21" name="Рисунок 3">
            <a:extLst>
              <a:ext uri="{FF2B5EF4-FFF2-40B4-BE49-F238E27FC236}">
                <a16:creationId xmlns:a16="http://schemas.microsoft.com/office/drawing/2014/main" id="{C626D6C2-C2EB-FD53-0B23-F12E5808FB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2875" y="498549"/>
            <a:ext cx="1541744" cy="471962"/>
          </a:xfrm>
          <a:prstGeom prst="rect">
            <a:avLst/>
          </a:prstGeom>
        </p:spPr>
      </p:pic>
      <p:cxnSp>
        <p:nvCxnSpPr>
          <p:cNvPr id="22" name="Straight Connector 13">
            <a:extLst>
              <a:ext uri="{FF2B5EF4-FFF2-40B4-BE49-F238E27FC236}">
                <a16:creationId xmlns:a16="http://schemas.microsoft.com/office/drawing/2014/main" id="{3402DFBE-944B-DBE5-846D-41DAB83FCC37}"/>
              </a:ext>
            </a:extLst>
          </p:cNvPr>
          <p:cNvCxnSpPr>
            <a:cxnSpLocks/>
          </p:cNvCxnSpPr>
          <p:nvPr/>
        </p:nvCxnSpPr>
        <p:spPr>
          <a:xfrm>
            <a:off x="2887278" y="485763"/>
            <a:ext cx="0" cy="472914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56EDB23-E0D6-F8F1-EF1F-C2C881DABC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30" y="489643"/>
            <a:ext cx="2397144" cy="36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5758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17" descr="A group of people posing for a photo in front of a building&#10;&#10;Description automatically generated with medium confidence">
            <a:extLst>
              <a:ext uri="{FF2B5EF4-FFF2-40B4-BE49-F238E27FC236}">
                <a16:creationId xmlns:a16="http://schemas.microsoft.com/office/drawing/2014/main" id="{C907CB27-7C33-4A99-B519-AF019893212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2" b="21852"/>
          <a:stretch/>
        </p:blipFill>
        <p:spPr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5BD5142-4C84-4945-94D7-9AE4585A45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7AB49A7-4CCC-4935-B946-F085F7BB6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7467" y="2978620"/>
            <a:ext cx="8197065" cy="900759"/>
          </a:xfrm>
        </p:spPr>
        <p:txBody>
          <a:bodyPr/>
          <a:lstStyle/>
          <a:p>
            <a:r>
              <a:rPr lang="ru-RU" b="1" dirty="0">
                <a:latin typeface="Inter" panose="02000503000000020004" pitchFamily="2" charset="0"/>
                <a:ea typeface="Inter" panose="02000503000000020004" pitchFamily="2" charset="0"/>
              </a:rPr>
              <a:t>Что такое </a:t>
            </a:r>
            <a:br>
              <a:rPr lang="en-US" b="1" dirty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b="1" dirty="0">
                <a:latin typeface="Inter" panose="02000503000000020004" pitchFamily="2" charset="0"/>
                <a:ea typeface="Inter" panose="02000503000000020004" pitchFamily="2" charset="0"/>
              </a:rPr>
              <a:t>международный менеджмент?</a:t>
            </a:r>
            <a:endParaRPr lang="ru-RU" dirty="0"/>
          </a:p>
        </p:txBody>
      </p:sp>
      <p:pic>
        <p:nvPicPr>
          <p:cNvPr id="9" name="Рисунок 82">
            <a:extLst>
              <a:ext uri="{FF2B5EF4-FFF2-40B4-BE49-F238E27FC236}">
                <a16:creationId xmlns:a16="http://schemas.microsoft.com/office/drawing/2014/main" id="{67B62155-9FD7-4E7F-9DBB-666214B4CDA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" r="23520" b="35217"/>
          <a:stretch/>
        </p:blipFill>
        <p:spPr>
          <a:xfrm>
            <a:off x="8278116" y="1969406"/>
            <a:ext cx="3913884" cy="4051981"/>
          </a:xfrm>
          <a:prstGeom prst="rect">
            <a:avLst/>
          </a:prstGeom>
        </p:spPr>
      </p:pic>
      <p:sp>
        <p:nvSpPr>
          <p:cNvPr id="4" name="Рамка 29">
            <a:extLst>
              <a:ext uri="{FF2B5EF4-FFF2-40B4-BE49-F238E27FC236}">
                <a16:creationId xmlns:a16="http://schemas.microsoft.com/office/drawing/2014/main" id="{CA9E469F-7D56-6187-68E5-8DDF85EA427F}"/>
              </a:ext>
            </a:extLst>
          </p:cNvPr>
          <p:cNvSpPr/>
          <p:nvPr/>
        </p:nvSpPr>
        <p:spPr>
          <a:xfrm>
            <a:off x="190499" y="171450"/>
            <a:ext cx="11811000" cy="6515100"/>
          </a:xfrm>
          <a:prstGeom prst="frame">
            <a:avLst>
              <a:gd name="adj1" fmla="val 944"/>
            </a:avLst>
          </a:prstGeom>
          <a:gradFill>
            <a:gsLst>
              <a:gs pos="0">
                <a:srgbClr val="006E36"/>
              </a:gs>
              <a:gs pos="100000">
                <a:schemeClr val="accent6">
                  <a:alpha val="0"/>
                </a:schemeClr>
              </a:gs>
            </a:gsLst>
            <a:lin ang="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8042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1AA7119-A1F1-4604-9DEE-B39909228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8822537" cy="664797"/>
          </a:xfrm>
        </p:spPr>
        <p:txBody>
          <a:bodyPr/>
          <a:lstStyle/>
          <a:p>
            <a:r>
              <a:rPr lang="ru-RU" b="1" dirty="0">
                <a:latin typeface="Inter" panose="02000503000000020004" pitchFamily="2" charset="0"/>
                <a:ea typeface="Inter" panose="02000503000000020004" pitchFamily="2" charset="0"/>
              </a:rPr>
              <a:t>Погружение в специальность </a:t>
            </a:r>
            <a:br>
              <a:rPr lang="ru-RU" b="1" dirty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b="1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и персональная траектория обучения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B1F04C-B322-407E-8E7B-B2E9731297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AA8A74-8566-41AB-BE36-77E5736D8C67}" type="slidenum">
              <a:rPr lang="ru-RU" smtClean="0">
                <a:latin typeface="Inter" panose="02000503000000020004" pitchFamily="2" charset="0"/>
                <a:ea typeface="Inter" panose="02000503000000020004" pitchFamily="2" charset="0"/>
              </a:rPr>
              <a:pPr/>
              <a:t>3</a:t>
            </a:fld>
            <a:endParaRPr lang="ru-RU" sz="100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32" name="Стрелка: пятиугольник 31">
            <a:extLst>
              <a:ext uri="{FF2B5EF4-FFF2-40B4-BE49-F238E27FC236}">
                <a16:creationId xmlns:a16="http://schemas.microsoft.com/office/drawing/2014/main" id="{1FBB3C5B-52C0-4997-AE1D-7F3262D399CF}"/>
              </a:ext>
            </a:extLst>
          </p:cNvPr>
          <p:cNvSpPr/>
          <p:nvPr/>
        </p:nvSpPr>
        <p:spPr>
          <a:xfrm>
            <a:off x="6006926" y="5804120"/>
            <a:ext cx="2040011" cy="576000"/>
          </a:xfrm>
          <a:prstGeom prst="roundRect">
            <a:avLst/>
          </a:prstGeom>
          <a:solidFill>
            <a:schemeClr val="bg2"/>
          </a:solidFill>
          <a:ln w="20574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Стажировка</a:t>
            </a:r>
            <a:endParaRPr lang="en-US" sz="1100">
              <a:solidFill>
                <a:srgbClr val="FFFFFF"/>
              </a:solidFill>
              <a:latin typeface="Inter" panose="02000503000000020004" pitchFamily="2" charset="0"/>
              <a:ea typeface="Inter" panose="02000503000000020004" pitchFamily="2" charset="0"/>
              <a:cs typeface="Arial" pitchFamily="34" charset="0"/>
            </a:endParaRPr>
          </a:p>
        </p:txBody>
      </p:sp>
      <p:sp>
        <p:nvSpPr>
          <p:cNvPr id="33" name="Стрелка: пятиугольник 32">
            <a:extLst>
              <a:ext uri="{FF2B5EF4-FFF2-40B4-BE49-F238E27FC236}">
                <a16:creationId xmlns:a16="http://schemas.microsoft.com/office/drawing/2014/main" id="{19A98AED-6F53-4383-B492-396A3727E7F3}"/>
              </a:ext>
            </a:extLst>
          </p:cNvPr>
          <p:cNvSpPr/>
          <p:nvPr/>
        </p:nvSpPr>
        <p:spPr>
          <a:xfrm>
            <a:off x="7097489" y="5131743"/>
            <a:ext cx="2993529" cy="576000"/>
          </a:xfrm>
          <a:prstGeom prst="roundRect">
            <a:avLst/>
          </a:prstGeom>
          <a:solidFill>
            <a:schemeClr val="tx2"/>
          </a:solidFill>
          <a:ln w="20574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 dirty="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Семестр включенного обучения в зарубежном</a:t>
            </a:r>
            <a:r>
              <a:rPr lang="en-US" sz="1100" dirty="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 </a:t>
            </a:r>
            <a:r>
              <a:rPr lang="ru-RU" sz="1100" dirty="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вузе-партнере</a:t>
            </a:r>
            <a:endParaRPr lang="en-US" sz="1100" dirty="0">
              <a:solidFill>
                <a:srgbClr val="FFFFFF"/>
              </a:solidFill>
              <a:latin typeface="Inter" panose="02000503000000020004" pitchFamily="2" charset="0"/>
              <a:ea typeface="Inter" panose="02000503000000020004" pitchFamily="2" charset="0"/>
              <a:cs typeface="Arial" pitchFamily="34" charset="0"/>
            </a:endParaRPr>
          </a:p>
        </p:txBody>
      </p:sp>
      <p:sp>
        <p:nvSpPr>
          <p:cNvPr id="31" name="Стрелка: пятиугольник 30">
            <a:extLst>
              <a:ext uri="{FF2B5EF4-FFF2-40B4-BE49-F238E27FC236}">
                <a16:creationId xmlns:a16="http://schemas.microsoft.com/office/drawing/2014/main" id="{AEE397E5-BD39-480B-9358-7C41F74ED76C}"/>
              </a:ext>
            </a:extLst>
          </p:cNvPr>
          <p:cNvSpPr/>
          <p:nvPr/>
        </p:nvSpPr>
        <p:spPr>
          <a:xfrm>
            <a:off x="2950977" y="4447731"/>
            <a:ext cx="2040012" cy="576000"/>
          </a:xfrm>
          <a:prstGeom prst="roundRect">
            <a:avLst/>
          </a:prstGeom>
          <a:solidFill>
            <a:srgbClr val="006E36"/>
          </a:solidFill>
          <a:ln w="20574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Групповая курсовая работа</a:t>
            </a:r>
            <a:endParaRPr lang="en-US" sz="1100">
              <a:solidFill>
                <a:srgbClr val="FFFFFF"/>
              </a:solidFill>
              <a:latin typeface="Inter" panose="02000503000000020004" pitchFamily="2" charset="0"/>
              <a:ea typeface="Inter" panose="02000503000000020004" pitchFamily="2" charset="0"/>
              <a:cs typeface="Arial" pitchFamily="34" charset="0"/>
            </a:endParaRPr>
          </a:p>
        </p:txBody>
      </p:sp>
      <p:grpSp>
        <p:nvGrpSpPr>
          <p:cNvPr id="133" name="Группа 52">
            <a:extLst>
              <a:ext uri="{FF2B5EF4-FFF2-40B4-BE49-F238E27FC236}">
                <a16:creationId xmlns:a16="http://schemas.microsoft.com/office/drawing/2014/main" id="{0FCFD851-21E0-4F2D-B789-DB05B575E11C}"/>
              </a:ext>
            </a:extLst>
          </p:cNvPr>
          <p:cNvGrpSpPr/>
          <p:nvPr/>
        </p:nvGrpSpPr>
        <p:grpSpPr>
          <a:xfrm>
            <a:off x="60961" y="1505295"/>
            <a:ext cx="12070080" cy="115035"/>
            <a:chOff x="850899" y="1585732"/>
            <a:chExt cx="14047789" cy="879675"/>
          </a:xfrm>
        </p:grpSpPr>
        <p:cxnSp>
          <p:nvCxnSpPr>
            <p:cNvPr id="134" name="Прямая соединительная линия 64">
              <a:extLst>
                <a:ext uri="{FF2B5EF4-FFF2-40B4-BE49-F238E27FC236}">
                  <a16:creationId xmlns:a16="http://schemas.microsoft.com/office/drawing/2014/main" id="{9331B123-6F0D-43A1-A72D-25DAD9D5AB59}"/>
                </a:ext>
              </a:extLst>
            </p:cNvPr>
            <p:cNvCxnSpPr/>
            <p:nvPr/>
          </p:nvCxnSpPr>
          <p:spPr>
            <a:xfrm>
              <a:off x="85089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5" name="Прямая соединительная линия 65">
              <a:extLst>
                <a:ext uri="{FF2B5EF4-FFF2-40B4-BE49-F238E27FC236}">
                  <a16:creationId xmlns:a16="http://schemas.microsoft.com/office/drawing/2014/main" id="{20EB49D8-F559-4315-8E01-F69158DD8A01}"/>
                </a:ext>
              </a:extLst>
            </p:cNvPr>
            <p:cNvCxnSpPr/>
            <p:nvPr/>
          </p:nvCxnSpPr>
          <p:spPr>
            <a:xfrm>
              <a:off x="104875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Прямая соединительная линия 66">
              <a:extLst>
                <a:ext uri="{FF2B5EF4-FFF2-40B4-BE49-F238E27FC236}">
                  <a16:creationId xmlns:a16="http://schemas.microsoft.com/office/drawing/2014/main" id="{1651648C-DAA1-49F1-8594-67AFB5097D05}"/>
                </a:ext>
              </a:extLst>
            </p:cNvPr>
            <p:cNvCxnSpPr/>
            <p:nvPr/>
          </p:nvCxnSpPr>
          <p:spPr>
            <a:xfrm>
              <a:off x="124661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Прямая соединительная линия 67">
              <a:extLst>
                <a:ext uri="{FF2B5EF4-FFF2-40B4-BE49-F238E27FC236}">
                  <a16:creationId xmlns:a16="http://schemas.microsoft.com/office/drawing/2014/main" id="{6DD14FB6-5F9C-4D7A-B672-9C187FD0145A}"/>
                </a:ext>
              </a:extLst>
            </p:cNvPr>
            <p:cNvCxnSpPr/>
            <p:nvPr/>
          </p:nvCxnSpPr>
          <p:spPr>
            <a:xfrm>
              <a:off x="144446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8" name="Прямая соединительная линия 69">
              <a:extLst>
                <a:ext uri="{FF2B5EF4-FFF2-40B4-BE49-F238E27FC236}">
                  <a16:creationId xmlns:a16="http://schemas.microsoft.com/office/drawing/2014/main" id="{96090DB2-9ED7-4130-B5A8-B08678653167}"/>
                </a:ext>
              </a:extLst>
            </p:cNvPr>
            <p:cNvCxnSpPr/>
            <p:nvPr/>
          </p:nvCxnSpPr>
          <p:spPr>
            <a:xfrm>
              <a:off x="164232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9" name="Прямая соединительная линия 70">
              <a:extLst>
                <a:ext uri="{FF2B5EF4-FFF2-40B4-BE49-F238E27FC236}">
                  <a16:creationId xmlns:a16="http://schemas.microsoft.com/office/drawing/2014/main" id="{39D9C4FF-6A0E-4708-B680-C778CA754224}"/>
                </a:ext>
              </a:extLst>
            </p:cNvPr>
            <p:cNvCxnSpPr/>
            <p:nvPr/>
          </p:nvCxnSpPr>
          <p:spPr>
            <a:xfrm>
              <a:off x="184017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0" name="Прямая соединительная линия 71">
              <a:extLst>
                <a:ext uri="{FF2B5EF4-FFF2-40B4-BE49-F238E27FC236}">
                  <a16:creationId xmlns:a16="http://schemas.microsoft.com/office/drawing/2014/main" id="{4A88AD9C-D57B-412A-9D79-3F54C2974667}"/>
                </a:ext>
              </a:extLst>
            </p:cNvPr>
            <p:cNvCxnSpPr/>
            <p:nvPr/>
          </p:nvCxnSpPr>
          <p:spPr>
            <a:xfrm>
              <a:off x="203803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1" name="Прямая соединительная линия 72">
              <a:extLst>
                <a:ext uri="{FF2B5EF4-FFF2-40B4-BE49-F238E27FC236}">
                  <a16:creationId xmlns:a16="http://schemas.microsoft.com/office/drawing/2014/main" id="{0DDBAB19-47B3-4FC7-BA0A-DA6BD6033292}"/>
                </a:ext>
              </a:extLst>
            </p:cNvPr>
            <p:cNvCxnSpPr/>
            <p:nvPr/>
          </p:nvCxnSpPr>
          <p:spPr>
            <a:xfrm>
              <a:off x="223589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2" name="Прямая соединительная линия 73">
              <a:extLst>
                <a:ext uri="{FF2B5EF4-FFF2-40B4-BE49-F238E27FC236}">
                  <a16:creationId xmlns:a16="http://schemas.microsoft.com/office/drawing/2014/main" id="{1138388F-D325-4F24-BBFE-426F7B454524}"/>
                </a:ext>
              </a:extLst>
            </p:cNvPr>
            <p:cNvCxnSpPr/>
            <p:nvPr/>
          </p:nvCxnSpPr>
          <p:spPr>
            <a:xfrm>
              <a:off x="243374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Прямая соединительная линия 74">
              <a:extLst>
                <a:ext uri="{FF2B5EF4-FFF2-40B4-BE49-F238E27FC236}">
                  <a16:creationId xmlns:a16="http://schemas.microsoft.com/office/drawing/2014/main" id="{4316DAAB-F9E6-40F5-BBD1-884205F4C9A7}"/>
                </a:ext>
              </a:extLst>
            </p:cNvPr>
            <p:cNvCxnSpPr/>
            <p:nvPr/>
          </p:nvCxnSpPr>
          <p:spPr>
            <a:xfrm>
              <a:off x="263160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Прямая соединительная линия 75">
              <a:extLst>
                <a:ext uri="{FF2B5EF4-FFF2-40B4-BE49-F238E27FC236}">
                  <a16:creationId xmlns:a16="http://schemas.microsoft.com/office/drawing/2014/main" id="{8E30E496-5BAB-435C-88AA-3509AEEC1F41}"/>
                </a:ext>
              </a:extLst>
            </p:cNvPr>
            <p:cNvCxnSpPr/>
            <p:nvPr/>
          </p:nvCxnSpPr>
          <p:spPr>
            <a:xfrm>
              <a:off x="282945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5" name="Прямая соединительная линия 76">
              <a:extLst>
                <a:ext uri="{FF2B5EF4-FFF2-40B4-BE49-F238E27FC236}">
                  <a16:creationId xmlns:a16="http://schemas.microsoft.com/office/drawing/2014/main" id="{DADFFC5F-EB3A-4A00-8FC3-EEC25DA18EFB}"/>
                </a:ext>
              </a:extLst>
            </p:cNvPr>
            <p:cNvCxnSpPr/>
            <p:nvPr/>
          </p:nvCxnSpPr>
          <p:spPr>
            <a:xfrm>
              <a:off x="302731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6" name="Прямая соединительная линия 77">
              <a:extLst>
                <a:ext uri="{FF2B5EF4-FFF2-40B4-BE49-F238E27FC236}">
                  <a16:creationId xmlns:a16="http://schemas.microsoft.com/office/drawing/2014/main" id="{9D0114BD-B5E6-4F2B-B4BC-ED2EDCD62989}"/>
                </a:ext>
              </a:extLst>
            </p:cNvPr>
            <p:cNvCxnSpPr/>
            <p:nvPr/>
          </p:nvCxnSpPr>
          <p:spPr>
            <a:xfrm>
              <a:off x="322517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7" name="Прямая соединительная линия 78">
              <a:extLst>
                <a:ext uri="{FF2B5EF4-FFF2-40B4-BE49-F238E27FC236}">
                  <a16:creationId xmlns:a16="http://schemas.microsoft.com/office/drawing/2014/main" id="{57975372-470F-45E0-9C33-7F868BACCD34}"/>
                </a:ext>
              </a:extLst>
            </p:cNvPr>
            <p:cNvCxnSpPr/>
            <p:nvPr/>
          </p:nvCxnSpPr>
          <p:spPr>
            <a:xfrm>
              <a:off x="342302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8" name="Прямая соединительная линия 79">
              <a:extLst>
                <a:ext uri="{FF2B5EF4-FFF2-40B4-BE49-F238E27FC236}">
                  <a16:creationId xmlns:a16="http://schemas.microsoft.com/office/drawing/2014/main" id="{6D01734E-8F2C-46F7-8D6E-9801CCD90E64}"/>
                </a:ext>
              </a:extLst>
            </p:cNvPr>
            <p:cNvCxnSpPr/>
            <p:nvPr/>
          </p:nvCxnSpPr>
          <p:spPr>
            <a:xfrm>
              <a:off x="362088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9" name="Прямая соединительная линия 80">
              <a:extLst>
                <a:ext uri="{FF2B5EF4-FFF2-40B4-BE49-F238E27FC236}">
                  <a16:creationId xmlns:a16="http://schemas.microsoft.com/office/drawing/2014/main" id="{99EF93AF-D576-49CC-80C1-DD21A04B03A7}"/>
                </a:ext>
              </a:extLst>
            </p:cNvPr>
            <p:cNvCxnSpPr/>
            <p:nvPr/>
          </p:nvCxnSpPr>
          <p:spPr>
            <a:xfrm>
              <a:off x="381873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0" name="Прямая соединительная линия 81">
              <a:extLst>
                <a:ext uri="{FF2B5EF4-FFF2-40B4-BE49-F238E27FC236}">
                  <a16:creationId xmlns:a16="http://schemas.microsoft.com/office/drawing/2014/main" id="{4ADF6060-B2B5-40EA-B37A-D303F4C487FF}"/>
                </a:ext>
              </a:extLst>
            </p:cNvPr>
            <p:cNvCxnSpPr/>
            <p:nvPr/>
          </p:nvCxnSpPr>
          <p:spPr>
            <a:xfrm>
              <a:off x="401659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1" name="Прямая соединительная линия 82">
              <a:extLst>
                <a:ext uri="{FF2B5EF4-FFF2-40B4-BE49-F238E27FC236}">
                  <a16:creationId xmlns:a16="http://schemas.microsoft.com/office/drawing/2014/main" id="{637370FC-C9DD-420C-B968-0281256EBD6A}"/>
                </a:ext>
              </a:extLst>
            </p:cNvPr>
            <p:cNvCxnSpPr/>
            <p:nvPr/>
          </p:nvCxnSpPr>
          <p:spPr>
            <a:xfrm>
              <a:off x="421445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2" name="Прямая соединительная линия 83">
              <a:extLst>
                <a:ext uri="{FF2B5EF4-FFF2-40B4-BE49-F238E27FC236}">
                  <a16:creationId xmlns:a16="http://schemas.microsoft.com/office/drawing/2014/main" id="{330EF067-DE9D-4833-9F20-6830F8F01690}"/>
                </a:ext>
              </a:extLst>
            </p:cNvPr>
            <p:cNvCxnSpPr/>
            <p:nvPr/>
          </p:nvCxnSpPr>
          <p:spPr>
            <a:xfrm>
              <a:off x="441230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3" name="Прямая соединительная линия 84">
              <a:extLst>
                <a:ext uri="{FF2B5EF4-FFF2-40B4-BE49-F238E27FC236}">
                  <a16:creationId xmlns:a16="http://schemas.microsoft.com/office/drawing/2014/main" id="{7032F1B6-B5A5-4D00-93B4-7C154862435A}"/>
                </a:ext>
              </a:extLst>
            </p:cNvPr>
            <p:cNvCxnSpPr/>
            <p:nvPr/>
          </p:nvCxnSpPr>
          <p:spPr>
            <a:xfrm>
              <a:off x="461016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4" name="Прямая соединительная линия 85">
              <a:extLst>
                <a:ext uri="{FF2B5EF4-FFF2-40B4-BE49-F238E27FC236}">
                  <a16:creationId xmlns:a16="http://schemas.microsoft.com/office/drawing/2014/main" id="{84143AFD-7E5B-4A36-BEAB-3D19040626B5}"/>
                </a:ext>
              </a:extLst>
            </p:cNvPr>
            <p:cNvCxnSpPr/>
            <p:nvPr/>
          </p:nvCxnSpPr>
          <p:spPr>
            <a:xfrm>
              <a:off x="480801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5" name="Прямая соединительная линия 86">
              <a:extLst>
                <a:ext uri="{FF2B5EF4-FFF2-40B4-BE49-F238E27FC236}">
                  <a16:creationId xmlns:a16="http://schemas.microsoft.com/office/drawing/2014/main" id="{BF39BE99-BCD3-4AC3-AEC3-FDCFEAB92250}"/>
                </a:ext>
              </a:extLst>
            </p:cNvPr>
            <p:cNvCxnSpPr/>
            <p:nvPr/>
          </p:nvCxnSpPr>
          <p:spPr>
            <a:xfrm>
              <a:off x="500587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6" name="Прямая соединительная линия 87">
              <a:extLst>
                <a:ext uri="{FF2B5EF4-FFF2-40B4-BE49-F238E27FC236}">
                  <a16:creationId xmlns:a16="http://schemas.microsoft.com/office/drawing/2014/main" id="{7FBE5802-A3F4-46D6-89A3-23E87FE67BB7}"/>
                </a:ext>
              </a:extLst>
            </p:cNvPr>
            <p:cNvCxnSpPr/>
            <p:nvPr/>
          </p:nvCxnSpPr>
          <p:spPr>
            <a:xfrm>
              <a:off x="520373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7" name="Прямая соединительная линия 88">
              <a:extLst>
                <a:ext uri="{FF2B5EF4-FFF2-40B4-BE49-F238E27FC236}">
                  <a16:creationId xmlns:a16="http://schemas.microsoft.com/office/drawing/2014/main" id="{B7B15CF9-0113-4640-B4AD-376D5E4CA5A6}"/>
                </a:ext>
              </a:extLst>
            </p:cNvPr>
            <p:cNvCxnSpPr/>
            <p:nvPr/>
          </p:nvCxnSpPr>
          <p:spPr>
            <a:xfrm>
              <a:off x="540158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8" name="Прямая соединительная линия 89">
              <a:extLst>
                <a:ext uri="{FF2B5EF4-FFF2-40B4-BE49-F238E27FC236}">
                  <a16:creationId xmlns:a16="http://schemas.microsoft.com/office/drawing/2014/main" id="{00B3B732-92CB-4196-AF25-18FDCB721CB2}"/>
                </a:ext>
              </a:extLst>
            </p:cNvPr>
            <p:cNvCxnSpPr/>
            <p:nvPr/>
          </p:nvCxnSpPr>
          <p:spPr>
            <a:xfrm>
              <a:off x="559944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9" name="Прямая соединительная линия 90">
              <a:extLst>
                <a:ext uri="{FF2B5EF4-FFF2-40B4-BE49-F238E27FC236}">
                  <a16:creationId xmlns:a16="http://schemas.microsoft.com/office/drawing/2014/main" id="{CF3B29F4-5AAC-4A82-ADB6-04613E82B712}"/>
                </a:ext>
              </a:extLst>
            </p:cNvPr>
            <p:cNvCxnSpPr/>
            <p:nvPr/>
          </p:nvCxnSpPr>
          <p:spPr>
            <a:xfrm>
              <a:off x="579729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0" name="Прямая соединительная линия 91">
              <a:extLst>
                <a:ext uri="{FF2B5EF4-FFF2-40B4-BE49-F238E27FC236}">
                  <a16:creationId xmlns:a16="http://schemas.microsoft.com/office/drawing/2014/main" id="{2184CEC9-8146-453C-9FC2-E366FD3B80EE}"/>
                </a:ext>
              </a:extLst>
            </p:cNvPr>
            <p:cNvCxnSpPr/>
            <p:nvPr/>
          </p:nvCxnSpPr>
          <p:spPr>
            <a:xfrm>
              <a:off x="599515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1" name="Прямая соединительная линия 92">
              <a:extLst>
                <a:ext uri="{FF2B5EF4-FFF2-40B4-BE49-F238E27FC236}">
                  <a16:creationId xmlns:a16="http://schemas.microsoft.com/office/drawing/2014/main" id="{009F96FE-EC7B-4000-8F21-1A006D530CBF}"/>
                </a:ext>
              </a:extLst>
            </p:cNvPr>
            <p:cNvCxnSpPr/>
            <p:nvPr/>
          </p:nvCxnSpPr>
          <p:spPr>
            <a:xfrm>
              <a:off x="619301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2" name="Прямая соединительная линия 93">
              <a:extLst>
                <a:ext uri="{FF2B5EF4-FFF2-40B4-BE49-F238E27FC236}">
                  <a16:creationId xmlns:a16="http://schemas.microsoft.com/office/drawing/2014/main" id="{7490C48E-1517-43CE-9381-8812940D0904}"/>
                </a:ext>
              </a:extLst>
            </p:cNvPr>
            <p:cNvCxnSpPr/>
            <p:nvPr/>
          </p:nvCxnSpPr>
          <p:spPr>
            <a:xfrm>
              <a:off x="639086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3" name="Прямая соединительная линия 94">
              <a:extLst>
                <a:ext uri="{FF2B5EF4-FFF2-40B4-BE49-F238E27FC236}">
                  <a16:creationId xmlns:a16="http://schemas.microsoft.com/office/drawing/2014/main" id="{190034EA-B813-4730-B418-6D90708923B0}"/>
                </a:ext>
              </a:extLst>
            </p:cNvPr>
            <p:cNvCxnSpPr/>
            <p:nvPr/>
          </p:nvCxnSpPr>
          <p:spPr>
            <a:xfrm>
              <a:off x="658872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4" name="Прямая соединительная линия 95">
              <a:extLst>
                <a:ext uri="{FF2B5EF4-FFF2-40B4-BE49-F238E27FC236}">
                  <a16:creationId xmlns:a16="http://schemas.microsoft.com/office/drawing/2014/main" id="{08B14BE5-6029-4784-8D6F-9899E504E65E}"/>
                </a:ext>
              </a:extLst>
            </p:cNvPr>
            <p:cNvCxnSpPr/>
            <p:nvPr/>
          </p:nvCxnSpPr>
          <p:spPr>
            <a:xfrm>
              <a:off x="678657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5" name="Прямая соединительная линия 96">
              <a:extLst>
                <a:ext uri="{FF2B5EF4-FFF2-40B4-BE49-F238E27FC236}">
                  <a16:creationId xmlns:a16="http://schemas.microsoft.com/office/drawing/2014/main" id="{927D1A43-7263-47D5-A49E-808C98EC004B}"/>
                </a:ext>
              </a:extLst>
            </p:cNvPr>
            <p:cNvCxnSpPr/>
            <p:nvPr/>
          </p:nvCxnSpPr>
          <p:spPr>
            <a:xfrm>
              <a:off x="698443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6" name="Прямая соединительная линия 97">
              <a:extLst>
                <a:ext uri="{FF2B5EF4-FFF2-40B4-BE49-F238E27FC236}">
                  <a16:creationId xmlns:a16="http://schemas.microsoft.com/office/drawing/2014/main" id="{92DD2B53-6018-4A46-9C67-5F21CEC54F07}"/>
                </a:ext>
              </a:extLst>
            </p:cNvPr>
            <p:cNvCxnSpPr/>
            <p:nvPr/>
          </p:nvCxnSpPr>
          <p:spPr>
            <a:xfrm>
              <a:off x="718229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7" name="Прямая соединительная линия 98">
              <a:extLst>
                <a:ext uri="{FF2B5EF4-FFF2-40B4-BE49-F238E27FC236}">
                  <a16:creationId xmlns:a16="http://schemas.microsoft.com/office/drawing/2014/main" id="{4DD3580A-05BC-4495-97F5-49E07B19BB17}"/>
                </a:ext>
              </a:extLst>
            </p:cNvPr>
            <p:cNvCxnSpPr/>
            <p:nvPr/>
          </p:nvCxnSpPr>
          <p:spPr>
            <a:xfrm>
              <a:off x="738014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8" name="Прямая соединительная линия 99">
              <a:extLst>
                <a:ext uri="{FF2B5EF4-FFF2-40B4-BE49-F238E27FC236}">
                  <a16:creationId xmlns:a16="http://schemas.microsoft.com/office/drawing/2014/main" id="{E603C621-07FF-4C9A-B0F8-AB98B6710177}"/>
                </a:ext>
              </a:extLst>
            </p:cNvPr>
            <p:cNvCxnSpPr/>
            <p:nvPr/>
          </p:nvCxnSpPr>
          <p:spPr>
            <a:xfrm>
              <a:off x="757800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9" name="Прямая соединительная линия 100">
              <a:extLst>
                <a:ext uri="{FF2B5EF4-FFF2-40B4-BE49-F238E27FC236}">
                  <a16:creationId xmlns:a16="http://schemas.microsoft.com/office/drawing/2014/main" id="{4C778621-2F93-4789-A779-DB8157C38597}"/>
                </a:ext>
              </a:extLst>
            </p:cNvPr>
            <p:cNvCxnSpPr/>
            <p:nvPr/>
          </p:nvCxnSpPr>
          <p:spPr>
            <a:xfrm>
              <a:off x="777585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0" name="Прямая соединительная линия 101">
              <a:extLst>
                <a:ext uri="{FF2B5EF4-FFF2-40B4-BE49-F238E27FC236}">
                  <a16:creationId xmlns:a16="http://schemas.microsoft.com/office/drawing/2014/main" id="{0609E29A-EC28-403A-B75E-05AD5C6979F9}"/>
                </a:ext>
              </a:extLst>
            </p:cNvPr>
            <p:cNvCxnSpPr/>
            <p:nvPr/>
          </p:nvCxnSpPr>
          <p:spPr>
            <a:xfrm>
              <a:off x="797371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1" name="Прямая соединительная линия 102">
              <a:extLst>
                <a:ext uri="{FF2B5EF4-FFF2-40B4-BE49-F238E27FC236}">
                  <a16:creationId xmlns:a16="http://schemas.microsoft.com/office/drawing/2014/main" id="{54B1FC69-6C91-4BB7-BA66-9C68DDEF50FE}"/>
                </a:ext>
              </a:extLst>
            </p:cNvPr>
            <p:cNvCxnSpPr/>
            <p:nvPr/>
          </p:nvCxnSpPr>
          <p:spPr>
            <a:xfrm>
              <a:off x="817157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2" name="Прямая соединительная линия 103">
              <a:extLst>
                <a:ext uri="{FF2B5EF4-FFF2-40B4-BE49-F238E27FC236}">
                  <a16:creationId xmlns:a16="http://schemas.microsoft.com/office/drawing/2014/main" id="{9C77C5D5-34AF-4B52-8F64-3571EFFF32D9}"/>
                </a:ext>
              </a:extLst>
            </p:cNvPr>
            <p:cNvCxnSpPr/>
            <p:nvPr/>
          </p:nvCxnSpPr>
          <p:spPr>
            <a:xfrm>
              <a:off x="836942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3" name="Прямая соединительная линия 104">
              <a:extLst>
                <a:ext uri="{FF2B5EF4-FFF2-40B4-BE49-F238E27FC236}">
                  <a16:creationId xmlns:a16="http://schemas.microsoft.com/office/drawing/2014/main" id="{7A794405-1F6B-4739-B25F-9972390FA581}"/>
                </a:ext>
              </a:extLst>
            </p:cNvPr>
            <p:cNvCxnSpPr/>
            <p:nvPr/>
          </p:nvCxnSpPr>
          <p:spPr>
            <a:xfrm>
              <a:off x="856728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4" name="Прямая соединительная линия 105">
              <a:extLst>
                <a:ext uri="{FF2B5EF4-FFF2-40B4-BE49-F238E27FC236}">
                  <a16:creationId xmlns:a16="http://schemas.microsoft.com/office/drawing/2014/main" id="{CAFFDFB5-1ADE-44AD-9E57-E5E31EF495DF}"/>
                </a:ext>
              </a:extLst>
            </p:cNvPr>
            <p:cNvCxnSpPr/>
            <p:nvPr/>
          </p:nvCxnSpPr>
          <p:spPr>
            <a:xfrm>
              <a:off x="876513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5" name="Прямая соединительная линия 106">
              <a:extLst>
                <a:ext uri="{FF2B5EF4-FFF2-40B4-BE49-F238E27FC236}">
                  <a16:creationId xmlns:a16="http://schemas.microsoft.com/office/drawing/2014/main" id="{7CDA662C-413A-4AA1-996C-CFD93A8F66F7}"/>
                </a:ext>
              </a:extLst>
            </p:cNvPr>
            <p:cNvCxnSpPr/>
            <p:nvPr/>
          </p:nvCxnSpPr>
          <p:spPr>
            <a:xfrm>
              <a:off x="896299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6" name="Прямая соединительная линия 107">
              <a:extLst>
                <a:ext uri="{FF2B5EF4-FFF2-40B4-BE49-F238E27FC236}">
                  <a16:creationId xmlns:a16="http://schemas.microsoft.com/office/drawing/2014/main" id="{27376A78-8793-4631-B417-1357C6B07947}"/>
                </a:ext>
              </a:extLst>
            </p:cNvPr>
            <p:cNvCxnSpPr/>
            <p:nvPr/>
          </p:nvCxnSpPr>
          <p:spPr>
            <a:xfrm>
              <a:off x="916085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7" name="Прямая соединительная линия 108">
              <a:extLst>
                <a:ext uri="{FF2B5EF4-FFF2-40B4-BE49-F238E27FC236}">
                  <a16:creationId xmlns:a16="http://schemas.microsoft.com/office/drawing/2014/main" id="{5190890C-1A29-4682-AD16-AB11774C4A51}"/>
                </a:ext>
              </a:extLst>
            </p:cNvPr>
            <p:cNvCxnSpPr/>
            <p:nvPr/>
          </p:nvCxnSpPr>
          <p:spPr>
            <a:xfrm>
              <a:off x="935870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8" name="Прямая соединительная линия 109">
              <a:extLst>
                <a:ext uri="{FF2B5EF4-FFF2-40B4-BE49-F238E27FC236}">
                  <a16:creationId xmlns:a16="http://schemas.microsoft.com/office/drawing/2014/main" id="{818C1E3E-B5E3-4D01-BC0D-230573C2A241}"/>
                </a:ext>
              </a:extLst>
            </p:cNvPr>
            <p:cNvCxnSpPr/>
            <p:nvPr/>
          </p:nvCxnSpPr>
          <p:spPr>
            <a:xfrm>
              <a:off x="955656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9" name="Прямая соединительная линия 110">
              <a:extLst>
                <a:ext uri="{FF2B5EF4-FFF2-40B4-BE49-F238E27FC236}">
                  <a16:creationId xmlns:a16="http://schemas.microsoft.com/office/drawing/2014/main" id="{C98F40A7-C382-4D76-BE96-98CAD91A4FEF}"/>
                </a:ext>
              </a:extLst>
            </p:cNvPr>
            <p:cNvCxnSpPr/>
            <p:nvPr/>
          </p:nvCxnSpPr>
          <p:spPr>
            <a:xfrm>
              <a:off x="975441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0" name="Прямая соединительная линия 111">
              <a:extLst>
                <a:ext uri="{FF2B5EF4-FFF2-40B4-BE49-F238E27FC236}">
                  <a16:creationId xmlns:a16="http://schemas.microsoft.com/office/drawing/2014/main" id="{122F2268-40A0-46B2-9A74-8173F6E61053}"/>
                </a:ext>
              </a:extLst>
            </p:cNvPr>
            <p:cNvCxnSpPr/>
            <p:nvPr/>
          </p:nvCxnSpPr>
          <p:spPr>
            <a:xfrm>
              <a:off x="995227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1" name="Прямая соединительная линия 112">
              <a:extLst>
                <a:ext uri="{FF2B5EF4-FFF2-40B4-BE49-F238E27FC236}">
                  <a16:creationId xmlns:a16="http://schemas.microsoft.com/office/drawing/2014/main" id="{3735C12F-9486-4D9E-B926-8976466B12A4}"/>
                </a:ext>
              </a:extLst>
            </p:cNvPr>
            <p:cNvCxnSpPr/>
            <p:nvPr/>
          </p:nvCxnSpPr>
          <p:spPr>
            <a:xfrm>
              <a:off x="1015013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2" name="Прямая соединительная линия 113">
              <a:extLst>
                <a:ext uri="{FF2B5EF4-FFF2-40B4-BE49-F238E27FC236}">
                  <a16:creationId xmlns:a16="http://schemas.microsoft.com/office/drawing/2014/main" id="{6F0D85DD-8435-43C9-9CAF-9D37D547962F}"/>
                </a:ext>
              </a:extLst>
            </p:cNvPr>
            <p:cNvCxnSpPr/>
            <p:nvPr/>
          </p:nvCxnSpPr>
          <p:spPr>
            <a:xfrm>
              <a:off x="1034798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3" name="Прямая соединительная линия 114">
              <a:extLst>
                <a:ext uri="{FF2B5EF4-FFF2-40B4-BE49-F238E27FC236}">
                  <a16:creationId xmlns:a16="http://schemas.microsoft.com/office/drawing/2014/main" id="{52904BE9-F76F-4C57-AA70-546DCBE5F7E8}"/>
                </a:ext>
              </a:extLst>
            </p:cNvPr>
            <p:cNvCxnSpPr/>
            <p:nvPr/>
          </p:nvCxnSpPr>
          <p:spPr>
            <a:xfrm>
              <a:off x="1054584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4" name="Прямая соединительная линия 115">
              <a:extLst>
                <a:ext uri="{FF2B5EF4-FFF2-40B4-BE49-F238E27FC236}">
                  <a16:creationId xmlns:a16="http://schemas.microsoft.com/office/drawing/2014/main" id="{6E08819C-8529-4873-B768-D5EF19B54A4D}"/>
                </a:ext>
              </a:extLst>
            </p:cNvPr>
            <p:cNvCxnSpPr/>
            <p:nvPr/>
          </p:nvCxnSpPr>
          <p:spPr>
            <a:xfrm>
              <a:off x="1074369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5" name="Прямая соединительная линия 116">
              <a:extLst>
                <a:ext uri="{FF2B5EF4-FFF2-40B4-BE49-F238E27FC236}">
                  <a16:creationId xmlns:a16="http://schemas.microsoft.com/office/drawing/2014/main" id="{0FE025D9-B4EE-4DFF-A1D8-335CDD33FA7C}"/>
                </a:ext>
              </a:extLst>
            </p:cNvPr>
            <p:cNvCxnSpPr/>
            <p:nvPr/>
          </p:nvCxnSpPr>
          <p:spPr>
            <a:xfrm>
              <a:off x="1094155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6" name="Прямая соединительная линия 117">
              <a:extLst>
                <a:ext uri="{FF2B5EF4-FFF2-40B4-BE49-F238E27FC236}">
                  <a16:creationId xmlns:a16="http://schemas.microsoft.com/office/drawing/2014/main" id="{E355E469-AD18-4B1F-ACE9-362FD2B30F10}"/>
                </a:ext>
              </a:extLst>
            </p:cNvPr>
            <p:cNvCxnSpPr/>
            <p:nvPr/>
          </p:nvCxnSpPr>
          <p:spPr>
            <a:xfrm>
              <a:off x="1113941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7" name="Прямая соединительная линия 118">
              <a:extLst>
                <a:ext uri="{FF2B5EF4-FFF2-40B4-BE49-F238E27FC236}">
                  <a16:creationId xmlns:a16="http://schemas.microsoft.com/office/drawing/2014/main" id="{121C5FB1-DA18-4B1E-8F1C-F681CD9A1475}"/>
                </a:ext>
              </a:extLst>
            </p:cNvPr>
            <p:cNvCxnSpPr/>
            <p:nvPr/>
          </p:nvCxnSpPr>
          <p:spPr>
            <a:xfrm>
              <a:off x="1133726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8" name="Прямая соединительная линия 119">
              <a:extLst>
                <a:ext uri="{FF2B5EF4-FFF2-40B4-BE49-F238E27FC236}">
                  <a16:creationId xmlns:a16="http://schemas.microsoft.com/office/drawing/2014/main" id="{4DCE885A-784E-44DD-A10E-6A06BD59A5B7}"/>
                </a:ext>
              </a:extLst>
            </p:cNvPr>
            <p:cNvCxnSpPr/>
            <p:nvPr/>
          </p:nvCxnSpPr>
          <p:spPr>
            <a:xfrm>
              <a:off x="1153512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9" name="Прямая соединительная линия 120">
              <a:extLst>
                <a:ext uri="{FF2B5EF4-FFF2-40B4-BE49-F238E27FC236}">
                  <a16:creationId xmlns:a16="http://schemas.microsoft.com/office/drawing/2014/main" id="{E96F2A60-DA95-4303-8A7A-D6B558D71418}"/>
                </a:ext>
              </a:extLst>
            </p:cNvPr>
            <p:cNvCxnSpPr/>
            <p:nvPr/>
          </p:nvCxnSpPr>
          <p:spPr>
            <a:xfrm>
              <a:off x="1173297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0" name="Прямая соединительная линия 121">
              <a:extLst>
                <a:ext uri="{FF2B5EF4-FFF2-40B4-BE49-F238E27FC236}">
                  <a16:creationId xmlns:a16="http://schemas.microsoft.com/office/drawing/2014/main" id="{E9DBFA61-0E98-4DBB-883F-53579735229F}"/>
                </a:ext>
              </a:extLst>
            </p:cNvPr>
            <p:cNvCxnSpPr/>
            <p:nvPr/>
          </p:nvCxnSpPr>
          <p:spPr>
            <a:xfrm>
              <a:off x="1193083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1" name="Прямая соединительная линия 122">
              <a:extLst>
                <a:ext uri="{FF2B5EF4-FFF2-40B4-BE49-F238E27FC236}">
                  <a16:creationId xmlns:a16="http://schemas.microsoft.com/office/drawing/2014/main" id="{03CD80EF-40B3-4C18-9242-FF576FC3AD07}"/>
                </a:ext>
              </a:extLst>
            </p:cNvPr>
            <p:cNvCxnSpPr/>
            <p:nvPr/>
          </p:nvCxnSpPr>
          <p:spPr>
            <a:xfrm>
              <a:off x="1212869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2" name="Прямая соединительная линия 123">
              <a:extLst>
                <a:ext uri="{FF2B5EF4-FFF2-40B4-BE49-F238E27FC236}">
                  <a16:creationId xmlns:a16="http://schemas.microsoft.com/office/drawing/2014/main" id="{2EE05025-F511-4E8D-8B14-E7D3AC0AF98B}"/>
                </a:ext>
              </a:extLst>
            </p:cNvPr>
            <p:cNvCxnSpPr/>
            <p:nvPr/>
          </p:nvCxnSpPr>
          <p:spPr>
            <a:xfrm>
              <a:off x="1232654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3" name="Прямая соединительная линия 124">
              <a:extLst>
                <a:ext uri="{FF2B5EF4-FFF2-40B4-BE49-F238E27FC236}">
                  <a16:creationId xmlns:a16="http://schemas.microsoft.com/office/drawing/2014/main" id="{B7EC12EF-2A33-4E35-9544-20AE158A4A9B}"/>
                </a:ext>
              </a:extLst>
            </p:cNvPr>
            <p:cNvCxnSpPr/>
            <p:nvPr/>
          </p:nvCxnSpPr>
          <p:spPr>
            <a:xfrm>
              <a:off x="1252440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4" name="Прямая соединительная линия 125">
              <a:extLst>
                <a:ext uri="{FF2B5EF4-FFF2-40B4-BE49-F238E27FC236}">
                  <a16:creationId xmlns:a16="http://schemas.microsoft.com/office/drawing/2014/main" id="{2F645032-E5FF-4624-AC04-2A76E15E737F}"/>
                </a:ext>
              </a:extLst>
            </p:cNvPr>
            <p:cNvCxnSpPr/>
            <p:nvPr/>
          </p:nvCxnSpPr>
          <p:spPr>
            <a:xfrm>
              <a:off x="1272225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5" name="Прямая соединительная линия 126">
              <a:extLst>
                <a:ext uri="{FF2B5EF4-FFF2-40B4-BE49-F238E27FC236}">
                  <a16:creationId xmlns:a16="http://schemas.microsoft.com/office/drawing/2014/main" id="{F170E5CA-5761-4CC4-A02A-736E730DEEDA}"/>
                </a:ext>
              </a:extLst>
            </p:cNvPr>
            <p:cNvCxnSpPr/>
            <p:nvPr/>
          </p:nvCxnSpPr>
          <p:spPr>
            <a:xfrm>
              <a:off x="1292011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6" name="Прямая соединительная линия 127">
              <a:extLst>
                <a:ext uri="{FF2B5EF4-FFF2-40B4-BE49-F238E27FC236}">
                  <a16:creationId xmlns:a16="http://schemas.microsoft.com/office/drawing/2014/main" id="{43B60760-8F35-4824-81BF-5F5DFA154D0D}"/>
                </a:ext>
              </a:extLst>
            </p:cNvPr>
            <p:cNvCxnSpPr/>
            <p:nvPr/>
          </p:nvCxnSpPr>
          <p:spPr>
            <a:xfrm>
              <a:off x="1311797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7" name="Прямая соединительная линия 128">
              <a:extLst>
                <a:ext uri="{FF2B5EF4-FFF2-40B4-BE49-F238E27FC236}">
                  <a16:creationId xmlns:a16="http://schemas.microsoft.com/office/drawing/2014/main" id="{C64352FD-34C9-45AC-8F9A-C7D2334AE2F6}"/>
                </a:ext>
              </a:extLst>
            </p:cNvPr>
            <p:cNvCxnSpPr/>
            <p:nvPr/>
          </p:nvCxnSpPr>
          <p:spPr>
            <a:xfrm>
              <a:off x="1331582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8" name="Прямая соединительная линия 129">
              <a:extLst>
                <a:ext uri="{FF2B5EF4-FFF2-40B4-BE49-F238E27FC236}">
                  <a16:creationId xmlns:a16="http://schemas.microsoft.com/office/drawing/2014/main" id="{458A6C1A-EEDF-4663-A1B1-E039D1530E55}"/>
                </a:ext>
              </a:extLst>
            </p:cNvPr>
            <p:cNvCxnSpPr/>
            <p:nvPr/>
          </p:nvCxnSpPr>
          <p:spPr>
            <a:xfrm>
              <a:off x="1351368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9" name="Прямая соединительная линия 130">
              <a:extLst>
                <a:ext uri="{FF2B5EF4-FFF2-40B4-BE49-F238E27FC236}">
                  <a16:creationId xmlns:a16="http://schemas.microsoft.com/office/drawing/2014/main" id="{767F99CD-0F7F-44E3-BE85-01951ADC67AA}"/>
                </a:ext>
              </a:extLst>
            </p:cNvPr>
            <p:cNvCxnSpPr/>
            <p:nvPr/>
          </p:nvCxnSpPr>
          <p:spPr>
            <a:xfrm>
              <a:off x="1371153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0" name="Прямая соединительная линия 131">
              <a:extLst>
                <a:ext uri="{FF2B5EF4-FFF2-40B4-BE49-F238E27FC236}">
                  <a16:creationId xmlns:a16="http://schemas.microsoft.com/office/drawing/2014/main" id="{2B23B0AE-D3C4-487D-8709-5C0A4E8238F1}"/>
                </a:ext>
              </a:extLst>
            </p:cNvPr>
            <p:cNvCxnSpPr/>
            <p:nvPr/>
          </p:nvCxnSpPr>
          <p:spPr>
            <a:xfrm>
              <a:off x="13909395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1" name="Прямая соединительная линия 132">
              <a:extLst>
                <a:ext uri="{FF2B5EF4-FFF2-40B4-BE49-F238E27FC236}">
                  <a16:creationId xmlns:a16="http://schemas.microsoft.com/office/drawing/2014/main" id="{E02C09BD-F300-4550-8AF9-18046246137B}"/>
                </a:ext>
              </a:extLst>
            </p:cNvPr>
            <p:cNvCxnSpPr/>
            <p:nvPr/>
          </p:nvCxnSpPr>
          <p:spPr>
            <a:xfrm>
              <a:off x="14107251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2" name="Прямая соединительная линия 133">
              <a:extLst>
                <a:ext uri="{FF2B5EF4-FFF2-40B4-BE49-F238E27FC236}">
                  <a16:creationId xmlns:a16="http://schemas.microsoft.com/office/drawing/2014/main" id="{848A1E5D-490D-4470-B48C-12F786F86297}"/>
                </a:ext>
              </a:extLst>
            </p:cNvPr>
            <p:cNvCxnSpPr/>
            <p:nvPr/>
          </p:nvCxnSpPr>
          <p:spPr>
            <a:xfrm>
              <a:off x="14305107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3" name="Прямая соединительная линия 134">
              <a:extLst>
                <a:ext uri="{FF2B5EF4-FFF2-40B4-BE49-F238E27FC236}">
                  <a16:creationId xmlns:a16="http://schemas.microsoft.com/office/drawing/2014/main" id="{51402F98-43FF-44AB-911B-01D3F2A44944}"/>
                </a:ext>
              </a:extLst>
            </p:cNvPr>
            <p:cNvCxnSpPr/>
            <p:nvPr/>
          </p:nvCxnSpPr>
          <p:spPr>
            <a:xfrm>
              <a:off x="14502963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4" name="Прямая соединительная линия 135">
              <a:extLst>
                <a:ext uri="{FF2B5EF4-FFF2-40B4-BE49-F238E27FC236}">
                  <a16:creationId xmlns:a16="http://schemas.microsoft.com/office/drawing/2014/main" id="{E5DB1CBA-74CB-4446-B04C-9B92B9D7F5AA}"/>
                </a:ext>
              </a:extLst>
            </p:cNvPr>
            <p:cNvCxnSpPr/>
            <p:nvPr/>
          </p:nvCxnSpPr>
          <p:spPr>
            <a:xfrm>
              <a:off x="14700819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5" name="Прямая соединительная линия 136">
              <a:extLst>
                <a:ext uri="{FF2B5EF4-FFF2-40B4-BE49-F238E27FC236}">
                  <a16:creationId xmlns:a16="http://schemas.microsoft.com/office/drawing/2014/main" id="{796AA487-0375-4894-9240-F4D158AE4555}"/>
                </a:ext>
              </a:extLst>
            </p:cNvPr>
            <p:cNvCxnSpPr/>
            <p:nvPr/>
          </p:nvCxnSpPr>
          <p:spPr>
            <a:xfrm>
              <a:off x="14898688" y="1585732"/>
              <a:ext cx="0" cy="879675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9" name="Стрелка: пятиугольник 28">
            <a:extLst>
              <a:ext uri="{FF2B5EF4-FFF2-40B4-BE49-F238E27FC236}">
                <a16:creationId xmlns:a16="http://schemas.microsoft.com/office/drawing/2014/main" id="{D6C25583-0E4B-47EF-A004-C418BF8FBF3F}"/>
              </a:ext>
            </a:extLst>
          </p:cNvPr>
          <p:cNvSpPr/>
          <p:nvPr/>
        </p:nvSpPr>
        <p:spPr>
          <a:xfrm>
            <a:off x="2950978" y="2415088"/>
            <a:ext cx="4068755" cy="5760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Общеобразовательные курсы и основы менеджмента</a:t>
            </a:r>
            <a:endParaRPr lang="en-US" sz="1100">
              <a:solidFill>
                <a:srgbClr val="FFFFFF"/>
              </a:solidFill>
              <a:latin typeface="Inter" panose="02000503000000020004" pitchFamily="2" charset="0"/>
              <a:ea typeface="Inter" panose="02000503000000020004" pitchFamily="2" charset="0"/>
              <a:cs typeface="Arial" pitchFamily="34" charset="0"/>
            </a:endParaRPr>
          </a:p>
        </p:txBody>
      </p:sp>
      <p:sp>
        <p:nvSpPr>
          <p:cNvPr id="30" name="Стрелка: пятиугольник 29">
            <a:extLst>
              <a:ext uri="{FF2B5EF4-FFF2-40B4-BE49-F238E27FC236}">
                <a16:creationId xmlns:a16="http://schemas.microsoft.com/office/drawing/2014/main" id="{8A0517C9-4983-46E4-BD39-4EE914C87CC0}"/>
              </a:ext>
            </a:extLst>
          </p:cNvPr>
          <p:cNvSpPr/>
          <p:nvPr/>
        </p:nvSpPr>
        <p:spPr>
          <a:xfrm>
            <a:off x="7072044" y="2415088"/>
            <a:ext cx="4148511" cy="5760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Погружение в специальность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48DD0A6-B49F-4F74-ABAF-EABAAF1DA173}"/>
              </a:ext>
            </a:extLst>
          </p:cNvPr>
          <p:cNvGrpSpPr/>
          <p:nvPr/>
        </p:nvGrpSpPr>
        <p:grpSpPr>
          <a:xfrm>
            <a:off x="2914799" y="1526420"/>
            <a:ext cx="2111133" cy="530998"/>
            <a:chOff x="2914799" y="1700600"/>
            <a:chExt cx="2111133" cy="530998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BA677F5E-F5F3-4B13-9316-0659F7CC5BBD}"/>
                </a:ext>
              </a:extLst>
            </p:cNvPr>
            <p:cNvSpPr/>
            <p:nvPr/>
          </p:nvSpPr>
          <p:spPr>
            <a:xfrm>
              <a:off x="3007774" y="2016154"/>
              <a:ext cx="1926423" cy="215444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/>
            <a:p>
              <a:pPr algn="ctr">
                <a:buFont typeface="Arial" panose="020B0604020202020204" pitchFamily="34" charset="0"/>
                <a:buChar char="​"/>
              </a:pPr>
              <a:r>
                <a:rPr lang="ru-RU" sz="1400">
                  <a:solidFill>
                    <a:schemeClr val="accent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1 курс</a:t>
              </a:r>
            </a:p>
          </p:txBody>
        </p:sp>
        <p:sp>
          <p:nvSpPr>
            <p:cNvPr id="211" name="Right Bracket 210">
              <a:extLst>
                <a:ext uri="{FF2B5EF4-FFF2-40B4-BE49-F238E27FC236}">
                  <a16:creationId xmlns:a16="http://schemas.microsoft.com/office/drawing/2014/main" id="{35661EA7-DF06-4AB6-A122-8B91877C0E46}"/>
                </a:ext>
              </a:extLst>
            </p:cNvPr>
            <p:cNvSpPr/>
            <p:nvPr/>
          </p:nvSpPr>
          <p:spPr>
            <a:xfrm rot="5400000" flipV="1">
              <a:off x="3857481" y="838009"/>
              <a:ext cx="227008" cy="2040014"/>
            </a:xfrm>
            <a:prstGeom prst="rightBracket">
              <a:avLst>
                <a:gd name="adj" fmla="val 83859"/>
              </a:avLst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DB5D6ED4-E8A8-4579-87D6-C7354497F435}"/>
                </a:ext>
              </a:extLst>
            </p:cNvPr>
            <p:cNvSpPr/>
            <p:nvPr/>
          </p:nvSpPr>
          <p:spPr>
            <a:xfrm>
              <a:off x="4953148" y="1700600"/>
              <a:ext cx="72784" cy="72784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D39C19AE-DEED-49A1-911D-56B70B460148}"/>
                </a:ext>
              </a:extLst>
            </p:cNvPr>
            <p:cNvSpPr/>
            <p:nvPr/>
          </p:nvSpPr>
          <p:spPr>
            <a:xfrm>
              <a:off x="2914799" y="1700600"/>
              <a:ext cx="72784" cy="72784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55A114C-CA90-43CF-B488-650D9440FE25}"/>
              </a:ext>
            </a:extLst>
          </p:cNvPr>
          <p:cNvGrpSpPr/>
          <p:nvPr/>
        </p:nvGrpSpPr>
        <p:grpSpPr>
          <a:xfrm>
            <a:off x="4979719" y="1526420"/>
            <a:ext cx="2084562" cy="530998"/>
            <a:chOff x="4979719" y="1700600"/>
            <a:chExt cx="2084562" cy="530998"/>
          </a:xfrm>
        </p:grpSpPr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16F3BEC8-4C26-4EBC-910B-C57BE20BDC6A}"/>
                </a:ext>
              </a:extLst>
            </p:cNvPr>
            <p:cNvSpPr/>
            <p:nvPr/>
          </p:nvSpPr>
          <p:spPr>
            <a:xfrm>
              <a:off x="5036515" y="2016154"/>
              <a:ext cx="1926423" cy="215444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/>
            <a:p>
              <a:pPr algn="ctr">
                <a:buFont typeface="Arial" panose="020B0604020202020204" pitchFamily="34" charset="0"/>
                <a:buChar char="​"/>
              </a:pPr>
              <a:r>
                <a:rPr lang="ru-RU" sz="1400">
                  <a:solidFill>
                    <a:schemeClr val="accent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2 курс</a:t>
              </a: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60EC6B6D-26C4-4243-A820-A7A3EEE93A2B}"/>
                </a:ext>
              </a:extLst>
            </p:cNvPr>
            <p:cNvSpPr/>
            <p:nvPr/>
          </p:nvSpPr>
          <p:spPr>
            <a:xfrm>
              <a:off x="6991497" y="1700600"/>
              <a:ext cx="72784" cy="72784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251" name="Right Bracket 250">
              <a:extLst>
                <a:ext uri="{FF2B5EF4-FFF2-40B4-BE49-F238E27FC236}">
                  <a16:creationId xmlns:a16="http://schemas.microsoft.com/office/drawing/2014/main" id="{C6ED03D7-AA77-4339-B75D-21ADC2FC8531}"/>
                </a:ext>
              </a:extLst>
            </p:cNvPr>
            <p:cNvSpPr/>
            <p:nvPr/>
          </p:nvSpPr>
          <p:spPr>
            <a:xfrm rot="5400000" flipV="1">
              <a:off x="5886222" y="838009"/>
              <a:ext cx="227008" cy="2040014"/>
            </a:xfrm>
            <a:prstGeom prst="rightBracket">
              <a:avLst>
                <a:gd name="adj" fmla="val 83859"/>
              </a:avLst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8E6663A-77F5-4C04-BD1F-83545D24C519}"/>
              </a:ext>
            </a:extLst>
          </p:cNvPr>
          <p:cNvGrpSpPr/>
          <p:nvPr/>
        </p:nvGrpSpPr>
        <p:grpSpPr>
          <a:xfrm>
            <a:off x="7026931" y="1526420"/>
            <a:ext cx="2080463" cy="530998"/>
            <a:chOff x="7026931" y="1700600"/>
            <a:chExt cx="2080463" cy="530998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C9E7175B-F554-4C53-B1FE-F5CA8ACD1858}"/>
                </a:ext>
              </a:extLst>
            </p:cNvPr>
            <p:cNvSpPr/>
            <p:nvPr/>
          </p:nvSpPr>
          <p:spPr>
            <a:xfrm>
              <a:off x="7083727" y="2016154"/>
              <a:ext cx="1926423" cy="215444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/>
            <a:p>
              <a:pPr algn="ctr">
                <a:buFont typeface="Arial" panose="020B0604020202020204" pitchFamily="34" charset="0"/>
                <a:buChar char="​"/>
              </a:pPr>
              <a:r>
                <a:rPr lang="ru-RU" sz="1400">
                  <a:solidFill>
                    <a:schemeClr val="accent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3 курс</a:t>
              </a:r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5956B7FC-7B7A-48C4-9C57-F1DD377D269A}"/>
                </a:ext>
              </a:extLst>
            </p:cNvPr>
            <p:cNvSpPr/>
            <p:nvPr/>
          </p:nvSpPr>
          <p:spPr>
            <a:xfrm>
              <a:off x="9034610" y="1700600"/>
              <a:ext cx="72784" cy="72784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252" name="Right Bracket 251">
              <a:extLst>
                <a:ext uri="{FF2B5EF4-FFF2-40B4-BE49-F238E27FC236}">
                  <a16:creationId xmlns:a16="http://schemas.microsoft.com/office/drawing/2014/main" id="{98F04D18-5708-4DAD-B593-A8959CEC622C}"/>
                </a:ext>
              </a:extLst>
            </p:cNvPr>
            <p:cNvSpPr/>
            <p:nvPr/>
          </p:nvSpPr>
          <p:spPr>
            <a:xfrm rot="5400000" flipV="1">
              <a:off x="7933434" y="838009"/>
              <a:ext cx="227008" cy="2040014"/>
            </a:xfrm>
            <a:prstGeom prst="rightBracket">
              <a:avLst>
                <a:gd name="adj" fmla="val 83859"/>
              </a:avLst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792716E-18FB-413C-89F9-3D41F0F8355D}"/>
              </a:ext>
            </a:extLst>
          </p:cNvPr>
          <p:cNvGrpSpPr/>
          <p:nvPr/>
        </p:nvGrpSpPr>
        <p:grpSpPr>
          <a:xfrm>
            <a:off x="9070884" y="1526420"/>
            <a:ext cx="2073559" cy="530998"/>
            <a:chOff x="9070884" y="1700600"/>
            <a:chExt cx="2073559" cy="530998"/>
          </a:xfrm>
        </p:grpSpPr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61FE8887-2537-4CF8-A508-8A3ACDB1DB4A}"/>
                </a:ext>
              </a:extLst>
            </p:cNvPr>
            <p:cNvSpPr/>
            <p:nvPr/>
          </p:nvSpPr>
          <p:spPr>
            <a:xfrm>
              <a:off x="9127680" y="2016154"/>
              <a:ext cx="1926423" cy="215444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/>
            <a:p>
              <a:pPr algn="ctr">
                <a:buFont typeface="Arial" panose="020B0604020202020204" pitchFamily="34" charset="0"/>
                <a:buChar char="​"/>
              </a:pPr>
              <a:r>
                <a:rPr lang="ru-RU" sz="1400">
                  <a:solidFill>
                    <a:schemeClr val="accent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4 курс</a:t>
              </a: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A14CED94-12A8-4649-A093-0AA2849AE59F}"/>
                </a:ext>
              </a:extLst>
            </p:cNvPr>
            <p:cNvSpPr/>
            <p:nvPr/>
          </p:nvSpPr>
          <p:spPr>
            <a:xfrm>
              <a:off x="11071659" y="1700600"/>
              <a:ext cx="72784" cy="72784"/>
            </a:xfrm>
            <a:prstGeom prst="ellipse">
              <a:avLst/>
            </a:prstGeom>
            <a:solidFill>
              <a:schemeClr val="accent1"/>
            </a:solidFill>
            <a:ln w="63500">
              <a:solidFill>
                <a:schemeClr val="accent1"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253" name="Right Bracket 252">
              <a:extLst>
                <a:ext uri="{FF2B5EF4-FFF2-40B4-BE49-F238E27FC236}">
                  <a16:creationId xmlns:a16="http://schemas.microsoft.com/office/drawing/2014/main" id="{3511CC6A-BFBA-4E25-841E-1A379A903170}"/>
                </a:ext>
              </a:extLst>
            </p:cNvPr>
            <p:cNvSpPr/>
            <p:nvPr/>
          </p:nvSpPr>
          <p:spPr>
            <a:xfrm rot="5400000" flipV="1">
              <a:off x="9977387" y="838009"/>
              <a:ext cx="227008" cy="2040014"/>
            </a:xfrm>
            <a:prstGeom prst="rightBracket">
              <a:avLst>
                <a:gd name="adj" fmla="val 83859"/>
              </a:avLst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</p:grpSp>
      <p:grpSp>
        <p:nvGrpSpPr>
          <p:cNvPr id="272" name="Группа 212">
            <a:extLst>
              <a:ext uri="{FF2B5EF4-FFF2-40B4-BE49-F238E27FC236}">
                <a16:creationId xmlns:a16="http://schemas.microsoft.com/office/drawing/2014/main" id="{90EDE8FC-2742-486E-8C8D-1B97D9528C64}"/>
              </a:ext>
            </a:extLst>
          </p:cNvPr>
          <p:cNvGrpSpPr/>
          <p:nvPr/>
        </p:nvGrpSpPr>
        <p:grpSpPr>
          <a:xfrm rot="5400000">
            <a:off x="3642386" y="4498081"/>
            <a:ext cx="997196" cy="3186263"/>
            <a:chOff x="4487501" y="3417614"/>
            <a:chExt cx="3217000" cy="8240813"/>
          </a:xfrm>
        </p:grpSpPr>
        <p:sp>
          <p:nvSpPr>
            <p:cNvPr id="273" name="Правая фигурная скобка 109">
              <a:extLst>
                <a:ext uri="{FF2B5EF4-FFF2-40B4-BE49-F238E27FC236}">
                  <a16:creationId xmlns:a16="http://schemas.microsoft.com/office/drawing/2014/main" id="{C3768DF7-7CC7-4A03-9A7A-1E5E4F02A653}"/>
                </a:ext>
              </a:extLst>
            </p:cNvPr>
            <p:cNvSpPr/>
            <p:nvPr/>
          </p:nvSpPr>
          <p:spPr>
            <a:xfrm rot="16200000">
              <a:off x="5881414" y="2023701"/>
              <a:ext cx="429171" cy="3216998"/>
            </a:xfrm>
            <a:prstGeom prst="rightBrace">
              <a:avLst>
                <a:gd name="adj1" fmla="val 46469"/>
                <a:gd name="adj2" fmla="val 50000"/>
              </a:avLst>
            </a:prstGeom>
            <a:gradFill flip="none" rotWithShape="1">
              <a:gsLst>
                <a:gs pos="0">
                  <a:schemeClr val="bg2">
                    <a:alpha val="10000"/>
                  </a:schemeClr>
                </a:gs>
                <a:gs pos="100000">
                  <a:schemeClr val="bg2">
                    <a:alpha val="0"/>
                  </a:schemeClr>
                </a:gs>
              </a:gsLst>
              <a:lin ang="10800000" scaled="1"/>
              <a:tileRect/>
            </a:gradFill>
            <a:ln w="1905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cxnSp>
          <p:nvCxnSpPr>
            <p:cNvPr id="274" name="Прямая соединительная линия 210">
              <a:extLst>
                <a:ext uri="{FF2B5EF4-FFF2-40B4-BE49-F238E27FC236}">
                  <a16:creationId xmlns:a16="http://schemas.microsoft.com/office/drawing/2014/main" id="{FBE44C3E-297B-44C7-B453-5FCEDDE6C80D}"/>
                </a:ext>
              </a:extLst>
            </p:cNvPr>
            <p:cNvCxnSpPr>
              <a:cxnSpLocks/>
              <a:stCxn id="273" idx="2"/>
            </p:cNvCxnSpPr>
            <p:nvPr/>
          </p:nvCxnSpPr>
          <p:spPr>
            <a:xfrm rot="16200000" flipH="1">
              <a:off x="3798679" y="7752604"/>
              <a:ext cx="7811641" cy="2"/>
            </a:xfrm>
            <a:prstGeom prst="line">
              <a:avLst/>
            </a:pr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Прямая соединительная линия 211">
              <a:extLst>
                <a:ext uri="{FF2B5EF4-FFF2-40B4-BE49-F238E27FC236}">
                  <a16:creationId xmlns:a16="http://schemas.microsoft.com/office/drawing/2014/main" id="{66147523-815E-42BF-9837-D0DC24C63821}"/>
                </a:ext>
              </a:extLst>
            </p:cNvPr>
            <p:cNvCxnSpPr>
              <a:cxnSpLocks/>
              <a:stCxn id="273" idx="0"/>
            </p:cNvCxnSpPr>
            <p:nvPr/>
          </p:nvCxnSpPr>
          <p:spPr>
            <a:xfrm rot="16200000" flipH="1">
              <a:off x="581681" y="7752606"/>
              <a:ext cx="7811641" cy="2"/>
            </a:xfrm>
            <a:prstGeom prst="line">
              <a:avLst/>
            </a:prstGeom>
            <a:gradFill flip="none" rotWithShape="1">
              <a:gsLst>
                <a:gs pos="0">
                  <a:schemeClr val="accent1">
                    <a:alpha val="10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Текст 2">
            <a:extLst>
              <a:ext uri="{FF2B5EF4-FFF2-40B4-BE49-F238E27FC236}">
                <a16:creationId xmlns:a16="http://schemas.microsoft.com/office/drawing/2014/main" id="{942DCAF3-337D-4844-AA2C-C52AF137131B}"/>
              </a:ext>
            </a:extLst>
          </p:cNvPr>
          <p:cNvSpPr txBox="1">
            <a:spLocks/>
          </p:cNvSpPr>
          <p:nvPr/>
        </p:nvSpPr>
        <p:spPr>
          <a:xfrm>
            <a:off x="1420969" y="4481815"/>
            <a:ext cx="1429110" cy="5078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lvl="0">
              <a:defRPr sz="1050">
                <a:solidFill>
                  <a:srgbClr val="63666A">
                    <a:lumMod val="50000"/>
                  </a:srgbClr>
                </a:solidFill>
                <a:latin typeface="+mj-lt"/>
                <a:ea typeface="Euclid Circular B" panose="020B0504000000000000" pitchFamily="34" charset="-5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100">
                <a:latin typeface="Inter" panose="02000503000000020004" pitchFamily="2" charset="0"/>
                <a:ea typeface="Inter" panose="02000503000000020004" pitchFamily="2" charset="0"/>
              </a:rPr>
              <a:t>Аналитические и исследовательские компетенции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C911F37-37EA-4545-A48A-9068C8E00DBD}"/>
              </a:ext>
            </a:extLst>
          </p:cNvPr>
          <p:cNvGrpSpPr/>
          <p:nvPr/>
        </p:nvGrpSpPr>
        <p:grpSpPr>
          <a:xfrm>
            <a:off x="2130401" y="5810161"/>
            <a:ext cx="3851035" cy="584775"/>
            <a:chOff x="2885327" y="5188593"/>
            <a:chExt cx="3851035" cy="584775"/>
          </a:xfrm>
        </p:grpSpPr>
        <p:sp>
          <p:nvSpPr>
            <p:cNvPr id="40" name="Текст 2">
              <a:extLst>
                <a:ext uri="{FF2B5EF4-FFF2-40B4-BE49-F238E27FC236}">
                  <a16:creationId xmlns:a16="http://schemas.microsoft.com/office/drawing/2014/main" id="{55947D96-E736-4DB2-BD4F-E71A9C4E2ED2}"/>
                </a:ext>
              </a:extLst>
            </p:cNvPr>
            <p:cNvSpPr txBox="1">
              <a:spLocks/>
            </p:cNvSpPr>
            <p:nvPr/>
          </p:nvSpPr>
          <p:spPr>
            <a:xfrm>
              <a:off x="3495399" y="5188593"/>
              <a:ext cx="3240963" cy="584775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ru-RU"/>
              </a:defPPr>
              <a:lvl1pPr lvl="0">
                <a:defRPr sz="1050">
                  <a:solidFill>
                    <a:srgbClr val="63666A">
                      <a:lumMod val="50000"/>
                    </a:srgbClr>
                  </a:solidFill>
                  <a:latin typeface="+mj-lt"/>
                  <a:ea typeface="Euclid Circular B" panose="020B0504000000000000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sz="1400" dirty="0">
                  <a:latin typeface="Inter" panose="02000503000000020004" pitchFamily="2" charset="0"/>
                  <a:ea typeface="Inter" panose="02000503000000020004" pitchFamily="2" charset="0"/>
                </a:rPr>
                <a:t>Практический опыт</a:t>
              </a:r>
              <a:br>
                <a:rPr lang="ru-RU" dirty="0">
                  <a:latin typeface="Inter" panose="02000503000000020004" pitchFamily="2" charset="0"/>
                  <a:ea typeface="Inter" panose="02000503000000020004" pitchFamily="2" charset="0"/>
                </a:rPr>
              </a:br>
              <a:r>
                <a:rPr lang="ru-RU" sz="1200" dirty="0">
                  <a:latin typeface="Inter" panose="02000503000000020004" pitchFamily="2" charset="0"/>
                  <a:ea typeface="Inter" panose="02000503000000020004" pitchFamily="2" charset="0"/>
                </a:rPr>
                <a:t>Практическое применение навыков, приобретенных в</a:t>
              </a:r>
              <a:r>
                <a:rPr lang="en-US" sz="1200" dirty="0">
                  <a:latin typeface="Inter" panose="02000503000000020004" pitchFamily="2" charset="0"/>
                  <a:ea typeface="Inter" panose="02000503000000020004" pitchFamily="2" charset="0"/>
                </a:rPr>
                <a:t> </a:t>
              </a:r>
              <a:r>
                <a:rPr lang="ru-RU" sz="1200" dirty="0">
                  <a:latin typeface="Inter" panose="02000503000000020004" pitchFamily="2" charset="0"/>
                  <a:ea typeface="Inter" panose="02000503000000020004" pitchFamily="2" charset="0"/>
                </a:rPr>
                <a:t>период обучения</a:t>
              </a:r>
              <a:endParaRPr lang="ru-RU" dirty="0"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828058F1-A5C9-4823-97FD-4B457C1F39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885327" y="5231324"/>
              <a:ext cx="499312" cy="499312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CDE9A8F-EA65-47DF-9201-2013C34DDEBB}"/>
              </a:ext>
            </a:extLst>
          </p:cNvPr>
          <p:cNvGrpSpPr/>
          <p:nvPr/>
        </p:nvGrpSpPr>
        <p:grpSpPr>
          <a:xfrm>
            <a:off x="928384" y="2426089"/>
            <a:ext cx="1944904" cy="553998"/>
            <a:chOff x="928384" y="2600269"/>
            <a:chExt cx="1944904" cy="553998"/>
          </a:xfrm>
        </p:grpSpPr>
        <p:sp>
          <p:nvSpPr>
            <p:cNvPr id="39" name="Текст 2">
              <a:extLst>
                <a:ext uri="{FF2B5EF4-FFF2-40B4-BE49-F238E27FC236}">
                  <a16:creationId xmlns:a16="http://schemas.microsoft.com/office/drawing/2014/main" id="{EA2587A2-5E8D-42BE-A590-01C32456AAEB}"/>
                </a:ext>
              </a:extLst>
            </p:cNvPr>
            <p:cNvSpPr txBox="1">
              <a:spLocks/>
            </p:cNvSpPr>
            <p:nvPr/>
          </p:nvSpPr>
          <p:spPr>
            <a:xfrm>
              <a:off x="1434159" y="2600269"/>
              <a:ext cx="1439129" cy="55399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ru-RU"/>
              </a:defPPr>
              <a:lvl1pPr lvl="0">
                <a:defRPr sz="1050">
                  <a:solidFill>
                    <a:srgbClr val="63666A">
                      <a:lumMod val="50000"/>
                    </a:srgbClr>
                  </a:solidFill>
                  <a:latin typeface="+mj-lt"/>
                  <a:ea typeface="Euclid Circular B" panose="020B0504000000000000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sz="1200">
                  <a:latin typeface="Inter" panose="02000503000000020004" pitchFamily="2" charset="0"/>
                  <a:ea typeface="Inter" panose="02000503000000020004" pitchFamily="2" charset="0"/>
                </a:rPr>
                <a:t>Управленческие знания и компетенции</a:t>
              </a:r>
            </a:p>
          </p:txBody>
        </p:sp>
        <p:pic>
          <p:nvPicPr>
            <p:cNvPr id="276" name="Graphic 275" descr="Управление контур">
              <a:extLst>
                <a:ext uri="{FF2B5EF4-FFF2-40B4-BE49-F238E27FC236}">
                  <a16:creationId xmlns:a16="http://schemas.microsoft.com/office/drawing/2014/main" id="{11E8CE66-1FCF-4C70-9614-1FD1CE7ECC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928384" y="2665599"/>
              <a:ext cx="392733" cy="392733"/>
            </a:xfrm>
            <a:prstGeom prst="rect">
              <a:avLst/>
            </a:prstGeom>
          </p:spPr>
        </p:pic>
      </p:grpSp>
      <p:sp>
        <p:nvSpPr>
          <p:cNvPr id="43" name="Текст 2">
            <a:extLst>
              <a:ext uri="{FF2B5EF4-FFF2-40B4-BE49-F238E27FC236}">
                <a16:creationId xmlns:a16="http://schemas.microsoft.com/office/drawing/2014/main" id="{942F3640-6456-4412-9344-F16B7ABB8657}"/>
              </a:ext>
            </a:extLst>
          </p:cNvPr>
          <p:cNvSpPr txBox="1">
            <a:spLocks/>
          </p:cNvSpPr>
          <p:nvPr/>
        </p:nvSpPr>
        <p:spPr>
          <a:xfrm>
            <a:off x="1434161" y="3107986"/>
            <a:ext cx="1195552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lvl="0">
              <a:defRPr sz="1050">
                <a:solidFill>
                  <a:srgbClr val="63666A">
                    <a:lumMod val="50000"/>
                  </a:srgbClr>
                </a:solidFill>
                <a:latin typeface="+mj-lt"/>
                <a:ea typeface="Euclid Circular B" panose="020B0504000000000000" pitchFamily="34" charset="-5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200">
                <a:latin typeface="Inter" panose="02000503000000020004" pitchFamily="2" charset="0"/>
                <a:ea typeface="Inter" panose="02000503000000020004" pitchFamily="2" charset="0"/>
              </a:rPr>
              <a:t>Коммуникации на английском языке</a:t>
            </a:r>
          </a:p>
        </p:txBody>
      </p:sp>
      <p:pic>
        <p:nvPicPr>
          <p:cNvPr id="119" name="Graphic 20">
            <a:extLst>
              <a:ext uri="{FF2B5EF4-FFF2-40B4-BE49-F238E27FC236}">
                <a16:creationId xmlns:a16="http://schemas.microsoft.com/office/drawing/2014/main" id="{CB9D4F10-D4FF-4857-BFC6-9B0B8EDBB18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8018" y="3191511"/>
            <a:ext cx="343094" cy="343092"/>
          </a:xfrm>
          <a:prstGeom prst="rect">
            <a:avLst/>
          </a:prstGeom>
        </p:spPr>
      </p:pic>
      <p:sp>
        <p:nvSpPr>
          <p:cNvPr id="120" name="Стрелка: пятиугольник 30">
            <a:extLst>
              <a:ext uri="{FF2B5EF4-FFF2-40B4-BE49-F238E27FC236}">
                <a16:creationId xmlns:a16="http://schemas.microsoft.com/office/drawing/2014/main" id="{A3A4145E-A3C5-45EE-A208-D5D65D69B1BB}"/>
              </a:ext>
            </a:extLst>
          </p:cNvPr>
          <p:cNvSpPr/>
          <p:nvPr/>
        </p:nvSpPr>
        <p:spPr>
          <a:xfrm>
            <a:off x="2950977" y="3775354"/>
            <a:ext cx="7140042" cy="576000"/>
          </a:xfrm>
          <a:prstGeom prst="roundRect">
            <a:avLst/>
          </a:prstGeom>
          <a:solidFill>
            <a:srgbClr val="90A1AE"/>
          </a:solidFill>
          <a:ln w="20574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 dirty="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Второй иностранный язык на выбор из шести:</a:t>
            </a:r>
          </a:p>
          <a:p>
            <a:pPr algn="ctr" fontAlgn="base">
              <a:buSzPct val="100000"/>
            </a:pPr>
            <a:r>
              <a:rPr lang="ru-RU" sz="1100" dirty="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французский, испанский, немецкий, китайский, корейский или японский</a:t>
            </a:r>
          </a:p>
        </p:txBody>
      </p:sp>
      <p:sp>
        <p:nvSpPr>
          <p:cNvPr id="122" name="Текст 2">
            <a:extLst>
              <a:ext uri="{FF2B5EF4-FFF2-40B4-BE49-F238E27FC236}">
                <a16:creationId xmlns:a16="http://schemas.microsoft.com/office/drawing/2014/main" id="{6143465D-1CE0-472D-B110-5F70B37C12D7}"/>
              </a:ext>
            </a:extLst>
          </p:cNvPr>
          <p:cNvSpPr txBox="1">
            <a:spLocks/>
          </p:cNvSpPr>
          <p:nvPr/>
        </p:nvSpPr>
        <p:spPr>
          <a:xfrm>
            <a:off x="1407914" y="3888931"/>
            <a:ext cx="1300180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lvl="0">
              <a:defRPr sz="1050">
                <a:solidFill>
                  <a:srgbClr val="63666A">
                    <a:lumMod val="50000"/>
                  </a:srgbClr>
                </a:solidFill>
                <a:latin typeface="+mj-lt"/>
                <a:ea typeface="Euclid Circular B" panose="020B0504000000000000" pitchFamily="34" charset="-5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200">
                <a:latin typeface="Inter" panose="02000503000000020004" pitchFamily="2" charset="0"/>
                <a:ea typeface="Inter" panose="02000503000000020004" pitchFamily="2" charset="0"/>
              </a:rPr>
              <a:t>Языковые компетенции</a:t>
            </a:r>
          </a:p>
        </p:txBody>
      </p:sp>
      <p:sp>
        <p:nvSpPr>
          <p:cNvPr id="121" name="Стрелка: пятиугольник 41">
            <a:extLst>
              <a:ext uri="{FF2B5EF4-FFF2-40B4-BE49-F238E27FC236}">
                <a16:creationId xmlns:a16="http://schemas.microsoft.com/office/drawing/2014/main" id="{7E5FFAD6-086A-3145-B0F6-6773CB8C7F11}"/>
              </a:ext>
            </a:extLst>
          </p:cNvPr>
          <p:cNvSpPr/>
          <p:nvPr/>
        </p:nvSpPr>
        <p:spPr>
          <a:xfrm>
            <a:off x="2969364" y="3089453"/>
            <a:ext cx="4068754" cy="576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Деловой английский язык</a:t>
            </a:r>
          </a:p>
        </p:txBody>
      </p:sp>
      <p:sp>
        <p:nvSpPr>
          <p:cNvPr id="123" name="Стрелка: пятиугольник 30">
            <a:extLst>
              <a:ext uri="{FF2B5EF4-FFF2-40B4-BE49-F238E27FC236}">
                <a16:creationId xmlns:a16="http://schemas.microsoft.com/office/drawing/2014/main" id="{B5497224-24B6-3243-ABC2-827528762213}"/>
              </a:ext>
            </a:extLst>
          </p:cNvPr>
          <p:cNvSpPr/>
          <p:nvPr/>
        </p:nvSpPr>
        <p:spPr>
          <a:xfrm>
            <a:off x="5024269" y="4447731"/>
            <a:ext cx="2040012" cy="576000"/>
          </a:xfrm>
          <a:prstGeom prst="roundRect">
            <a:avLst/>
          </a:prstGeom>
          <a:solidFill>
            <a:srgbClr val="006E36"/>
          </a:solidFill>
          <a:ln w="20574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Групповая курсовая работа</a:t>
            </a:r>
            <a:endParaRPr lang="en-US" sz="1100">
              <a:solidFill>
                <a:srgbClr val="FFFFFF"/>
              </a:solidFill>
              <a:latin typeface="Inter" panose="02000503000000020004" pitchFamily="2" charset="0"/>
              <a:ea typeface="Inter" panose="02000503000000020004" pitchFamily="2" charset="0"/>
              <a:cs typeface="Arial" pitchFamily="34" charset="0"/>
            </a:endParaRPr>
          </a:p>
        </p:txBody>
      </p:sp>
      <p:sp>
        <p:nvSpPr>
          <p:cNvPr id="126" name="Стрелка: пятиугольник 30">
            <a:extLst>
              <a:ext uri="{FF2B5EF4-FFF2-40B4-BE49-F238E27FC236}">
                <a16:creationId xmlns:a16="http://schemas.microsoft.com/office/drawing/2014/main" id="{E29D858E-5700-3648-AC3F-4D7E2E2E9AB4}"/>
              </a:ext>
            </a:extLst>
          </p:cNvPr>
          <p:cNvSpPr/>
          <p:nvPr/>
        </p:nvSpPr>
        <p:spPr>
          <a:xfrm>
            <a:off x="7102406" y="4447731"/>
            <a:ext cx="2040012" cy="576000"/>
          </a:xfrm>
          <a:prstGeom prst="roundRect">
            <a:avLst/>
          </a:prstGeom>
          <a:solidFill>
            <a:srgbClr val="006E36"/>
          </a:solidFill>
          <a:ln w="20574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Индивидуальная курсовая работа</a:t>
            </a:r>
            <a:endParaRPr lang="en-US" sz="1100">
              <a:solidFill>
                <a:srgbClr val="FFFFFF"/>
              </a:solidFill>
              <a:latin typeface="Inter" panose="02000503000000020004" pitchFamily="2" charset="0"/>
              <a:ea typeface="Inter" panose="02000503000000020004" pitchFamily="2" charset="0"/>
              <a:cs typeface="Arial" pitchFamily="34" charset="0"/>
            </a:endParaRPr>
          </a:p>
        </p:txBody>
      </p:sp>
      <p:sp>
        <p:nvSpPr>
          <p:cNvPr id="127" name="Стрелка: пятиугольник 30">
            <a:extLst>
              <a:ext uri="{FF2B5EF4-FFF2-40B4-BE49-F238E27FC236}">
                <a16:creationId xmlns:a16="http://schemas.microsoft.com/office/drawing/2014/main" id="{D563C5F0-B85C-914A-BC2D-95528F4D9D00}"/>
              </a:ext>
            </a:extLst>
          </p:cNvPr>
          <p:cNvSpPr/>
          <p:nvPr/>
        </p:nvSpPr>
        <p:spPr>
          <a:xfrm>
            <a:off x="9180543" y="4453739"/>
            <a:ext cx="2040012" cy="576000"/>
          </a:xfrm>
          <a:prstGeom prst="roundRect">
            <a:avLst/>
          </a:prstGeom>
          <a:solidFill>
            <a:srgbClr val="006E36"/>
          </a:solidFill>
          <a:ln w="20574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Выпускная квалификационная работа</a:t>
            </a:r>
            <a:endParaRPr lang="en-US" sz="1100">
              <a:solidFill>
                <a:srgbClr val="FFFFFF"/>
              </a:solidFill>
              <a:latin typeface="Inter" panose="02000503000000020004" pitchFamily="2" charset="0"/>
              <a:ea typeface="Inter" panose="02000503000000020004" pitchFamily="2" charset="0"/>
              <a:cs typeface="Arial" pitchFamily="34" charset="0"/>
            </a:endParaRPr>
          </a:p>
        </p:txBody>
      </p:sp>
      <p:sp>
        <p:nvSpPr>
          <p:cNvPr id="130" name="Стрелка: пятиугольник 31">
            <a:extLst>
              <a:ext uri="{FF2B5EF4-FFF2-40B4-BE49-F238E27FC236}">
                <a16:creationId xmlns:a16="http://schemas.microsoft.com/office/drawing/2014/main" id="{7D653CE7-017B-DA46-8771-200116C86B6E}"/>
              </a:ext>
            </a:extLst>
          </p:cNvPr>
          <p:cNvSpPr/>
          <p:nvPr/>
        </p:nvSpPr>
        <p:spPr>
          <a:xfrm>
            <a:off x="8136082" y="5804120"/>
            <a:ext cx="1954935" cy="576000"/>
          </a:xfrm>
          <a:prstGeom prst="roundRect">
            <a:avLst/>
          </a:prstGeom>
          <a:solidFill>
            <a:schemeClr val="bg2"/>
          </a:solidFill>
          <a:ln w="20574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buSzPct val="100000"/>
            </a:pPr>
            <a:r>
              <a:rPr lang="ru-RU" sz="1100" dirty="0">
                <a:solidFill>
                  <a:srgbClr val="FFFFFF"/>
                </a:solidFill>
                <a:latin typeface="Inter" panose="02000503000000020004" pitchFamily="2" charset="0"/>
                <a:ea typeface="Inter" panose="02000503000000020004" pitchFamily="2" charset="0"/>
                <a:cs typeface="Arial" pitchFamily="34" charset="0"/>
              </a:rPr>
              <a:t>Стажировка</a:t>
            </a:r>
            <a:endParaRPr lang="en-US" sz="1100" dirty="0">
              <a:solidFill>
                <a:srgbClr val="FFFFFF"/>
              </a:solidFill>
              <a:latin typeface="Inter" panose="02000503000000020004" pitchFamily="2" charset="0"/>
              <a:ea typeface="Inter" panose="02000503000000020004" pitchFamily="2" charset="0"/>
              <a:cs typeface="Arial" pitchFamily="34" charset="0"/>
            </a:endParaRPr>
          </a:p>
        </p:txBody>
      </p:sp>
      <p:sp>
        <p:nvSpPr>
          <p:cNvPr id="12" name="Graphic 27">
            <a:extLst>
              <a:ext uri="{FF2B5EF4-FFF2-40B4-BE49-F238E27FC236}">
                <a16:creationId xmlns:a16="http://schemas.microsoft.com/office/drawing/2014/main" id="{A471E8BD-3C4E-80CD-0519-52D759884FD7}"/>
              </a:ext>
            </a:extLst>
          </p:cNvPr>
          <p:cNvSpPr/>
          <p:nvPr/>
        </p:nvSpPr>
        <p:spPr>
          <a:xfrm flipH="1">
            <a:off x="885638" y="4621445"/>
            <a:ext cx="365147" cy="296049"/>
          </a:xfrm>
          <a:custGeom>
            <a:avLst/>
            <a:gdLst>
              <a:gd name="connsiteX0" fmla="*/ 409547 w 410966"/>
              <a:gd name="connsiteY0" fmla="*/ 39874 h 347407"/>
              <a:gd name="connsiteX1" fmla="*/ 374794 w 410966"/>
              <a:gd name="connsiteY1" fmla="*/ 2449 h 347407"/>
              <a:gd name="connsiteX2" fmla="*/ 363074 w 410966"/>
              <a:gd name="connsiteY2" fmla="*/ 2406 h 347407"/>
              <a:gd name="connsiteX3" fmla="*/ 363032 w 410966"/>
              <a:gd name="connsiteY3" fmla="*/ 2449 h 347407"/>
              <a:gd name="connsiteX4" fmla="*/ 328279 w 410966"/>
              <a:gd name="connsiteY4" fmla="*/ 39874 h 347407"/>
              <a:gd name="connsiteX5" fmla="*/ 330324 w 410966"/>
              <a:gd name="connsiteY5" fmla="*/ 51030 h 347407"/>
              <a:gd name="connsiteX6" fmla="*/ 340042 w 410966"/>
              <a:gd name="connsiteY6" fmla="*/ 50567 h 347407"/>
              <a:gd name="connsiteX7" fmla="*/ 363566 w 410966"/>
              <a:gd name="connsiteY7" fmla="*/ 25439 h 347407"/>
              <a:gd name="connsiteX8" fmla="*/ 363566 w 410966"/>
              <a:gd name="connsiteY8" fmla="*/ 331367 h 347407"/>
              <a:gd name="connsiteX9" fmla="*/ 310101 w 410966"/>
              <a:gd name="connsiteY9" fmla="*/ 331367 h 347407"/>
              <a:gd name="connsiteX10" fmla="*/ 310101 w 410966"/>
              <a:gd name="connsiteY10" fmla="*/ 66714 h 347407"/>
              <a:gd name="connsiteX11" fmla="*/ 302081 w 410966"/>
              <a:gd name="connsiteY11" fmla="*/ 58694 h 347407"/>
              <a:gd name="connsiteX12" fmla="*/ 237922 w 410966"/>
              <a:gd name="connsiteY12" fmla="*/ 58694 h 347407"/>
              <a:gd name="connsiteX13" fmla="*/ 229902 w 410966"/>
              <a:gd name="connsiteY13" fmla="*/ 66714 h 347407"/>
              <a:gd name="connsiteX14" fmla="*/ 229902 w 410966"/>
              <a:gd name="connsiteY14" fmla="*/ 331367 h 347407"/>
              <a:gd name="connsiteX15" fmla="*/ 203169 w 410966"/>
              <a:gd name="connsiteY15" fmla="*/ 331367 h 347407"/>
              <a:gd name="connsiteX16" fmla="*/ 203169 w 410966"/>
              <a:gd name="connsiteY16" fmla="*/ 136219 h 347407"/>
              <a:gd name="connsiteX17" fmla="*/ 195150 w 410966"/>
              <a:gd name="connsiteY17" fmla="*/ 128199 h 347407"/>
              <a:gd name="connsiteX18" fmla="*/ 130991 w 410966"/>
              <a:gd name="connsiteY18" fmla="*/ 128199 h 347407"/>
              <a:gd name="connsiteX19" fmla="*/ 122971 w 410966"/>
              <a:gd name="connsiteY19" fmla="*/ 136219 h 347407"/>
              <a:gd name="connsiteX20" fmla="*/ 122971 w 410966"/>
              <a:gd name="connsiteY20" fmla="*/ 331367 h 347407"/>
              <a:gd name="connsiteX21" fmla="*/ 101585 w 410966"/>
              <a:gd name="connsiteY21" fmla="*/ 331367 h 347407"/>
              <a:gd name="connsiteX22" fmla="*/ 101585 w 410966"/>
              <a:gd name="connsiteY22" fmla="*/ 200377 h 347407"/>
              <a:gd name="connsiteX23" fmla="*/ 93565 w 410966"/>
              <a:gd name="connsiteY23" fmla="*/ 192358 h 347407"/>
              <a:gd name="connsiteX24" fmla="*/ 29406 w 410966"/>
              <a:gd name="connsiteY24" fmla="*/ 192358 h 347407"/>
              <a:gd name="connsiteX25" fmla="*/ 21386 w 410966"/>
              <a:gd name="connsiteY25" fmla="*/ 200377 h 347407"/>
              <a:gd name="connsiteX26" fmla="*/ 21386 w 410966"/>
              <a:gd name="connsiteY26" fmla="*/ 331367 h 347407"/>
              <a:gd name="connsiteX27" fmla="*/ 8020 w 410966"/>
              <a:gd name="connsiteY27" fmla="*/ 331367 h 347407"/>
              <a:gd name="connsiteX28" fmla="*/ 0 w 410966"/>
              <a:gd name="connsiteY28" fmla="*/ 339387 h 347407"/>
              <a:gd name="connsiteX29" fmla="*/ 8020 w 410966"/>
              <a:gd name="connsiteY29" fmla="*/ 347407 h 347407"/>
              <a:gd name="connsiteX30" fmla="*/ 371586 w 410966"/>
              <a:gd name="connsiteY30" fmla="*/ 347407 h 347407"/>
              <a:gd name="connsiteX31" fmla="*/ 379606 w 410966"/>
              <a:gd name="connsiteY31" fmla="*/ 339387 h 347407"/>
              <a:gd name="connsiteX32" fmla="*/ 379606 w 410966"/>
              <a:gd name="connsiteY32" fmla="*/ 31213 h 347407"/>
              <a:gd name="connsiteX33" fmla="*/ 397784 w 410966"/>
              <a:gd name="connsiteY33" fmla="*/ 50781 h 347407"/>
              <a:gd name="connsiteX34" fmla="*/ 409084 w 410966"/>
              <a:gd name="connsiteY34" fmla="*/ 49806 h 347407"/>
              <a:gd name="connsiteX35" fmla="*/ 409547 w 410966"/>
              <a:gd name="connsiteY35" fmla="*/ 40088 h 347407"/>
              <a:gd name="connsiteX36" fmla="*/ 245942 w 410966"/>
              <a:gd name="connsiteY36" fmla="*/ 74734 h 347407"/>
              <a:gd name="connsiteX37" fmla="*/ 294061 w 410966"/>
              <a:gd name="connsiteY37" fmla="*/ 74734 h 347407"/>
              <a:gd name="connsiteX38" fmla="*/ 294061 w 410966"/>
              <a:gd name="connsiteY38" fmla="*/ 331367 h 347407"/>
              <a:gd name="connsiteX39" fmla="*/ 245942 w 410966"/>
              <a:gd name="connsiteY39" fmla="*/ 331367 h 347407"/>
              <a:gd name="connsiteX40" fmla="*/ 139011 w 410966"/>
              <a:gd name="connsiteY40" fmla="*/ 144239 h 347407"/>
              <a:gd name="connsiteX41" fmla="*/ 187130 w 410966"/>
              <a:gd name="connsiteY41" fmla="*/ 144239 h 347407"/>
              <a:gd name="connsiteX42" fmla="*/ 187130 w 410966"/>
              <a:gd name="connsiteY42" fmla="*/ 331367 h 347407"/>
              <a:gd name="connsiteX43" fmla="*/ 139011 w 410966"/>
              <a:gd name="connsiteY43" fmla="*/ 331367 h 347407"/>
              <a:gd name="connsiteX44" fmla="*/ 37426 w 410966"/>
              <a:gd name="connsiteY44" fmla="*/ 208397 h 347407"/>
              <a:gd name="connsiteX45" fmla="*/ 85545 w 410966"/>
              <a:gd name="connsiteY45" fmla="*/ 208397 h 347407"/>
              <a:gd name="connsiteX46" fmla="*/ 85545 w 410966"/>
              <a:gd name="connsiteY46" fmla="*/ 331367 h 347407"/>
              <a:gd name="connsiteX47" fmla="*/ 37426 w 410966"/>
              <a:gd name="connsiteY47" fmla="*/ 331367 h 347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410966" h="347407">
                <a:moveTo>
                  <a:pt x="409547" y="39874"/>
                </a:moveTo>
                <a:lnTo>
                  <a:pt x="374794" y="2449"/>
                </a:lnTo>
                <a:cubicBezTo>
                  <a:pt x="371570" y="-799"/>
                  <a:pt x="366323" y="-819"/>
                  <a:pt x="363074" y="2406"/>
                </a:cubicBezTo>
                <a:cubicBezTo>
                  <a:pt x="363060" y="2420"/>
                  <a:pt x="363046" y="2434"/>
                  <a:pt x="363032" y="2449"/>
                </a:cubicBezTo>
                <a:lnTo>
                  <a:pt x="328279" y="39874"/>
                </a:lnTo>
                <a:cubicBezTo>
                  <a:pt x="325763" y="43520"/>
                  <a:pt x="326679" y="48514"/>
                  <a:pt x="330324" y="51030"/>
                </a:cubicBezTo>
                <a:cubicBezTo>
                  <a:pt x="333298" y="53082"/>
                  <a:pt x="337276" y="52893"/>
                  <a:pt x="340042" y="50567"/>
                </a:cubicBezTo>
                <a:lnTo>
                  <a:pt x="363566" y="25439"/>
                </a:lnTo>
                <a:lnTo>
                  <a:pt x="363566" y="331367"/>
                </a:lnTo>
                <a:lnTo>
                  <a:pt x="310101" y="331367"/>
                </a:lnTo>
                <a:lnTo>
                  <a:pt x="310101" y="66714"/>
                </a:lnTo>
                <a:cubicBezTo>
                  <a:pt x="310101" y="62285"/>
                  <a:pt x="306510" y="58694"/>
                  <a:pt x="302081" y="58694"/>
                </a:cubicBezTo>
                <a:lnTo>
                  <a:pt x="237922" y="58694"/>
                </a:lnTo>
                <a:cubicBezTo>
                  <a:pt x="233493" y="58694"/>
                  <a:pt x="229902" y="62285"/>
                  <a:pt x="229902" y="66714"/>
                </a:cubicBezTo>
                <a:lnTo>
                  <a:pt x="229902" y="331367"/>
                </a:lnTo>
                <a:lnTo>
                  <a:pt x="203169" y="331367"/>
                </a:lnTo>
                <a:lnTo>
                  <a:pt x="203169" y="136219"/>
                </a:lnTo>
                <a:cubicBezTo>
                  <a:pt x="203169" y="131790"/>
                  <a:pt x="199579" y="128199"/>
                  <a:pt x="195150" y="128199"/>
                </a:cubicBezTo>
                <a:lnTo>
                  <a:pt x="130991" y="128199"/>
                </a:lnTo>
                <a:cubicBezTo>
                  <a:pt x="126562" y="128199"/>
                  <a:pt x="122971" y="131790"/>
                  <a:pt x="122971" y="136219"/>
                </a:cubicBezTo>
                <a:lnTo>
                  <a:pt x="122971" y="331367"/>
                </a:lnTo>
                <a:lnTo>
                  <a:pt x="101585" y="331367"/>
                </a:lnTo>
                <a:lnTo>
                  <a:pt x="101585" y="200377"/>
                </a:lnTo>
                <a:cubicBezTo>
                  <a:pt x="101585" y="195948"/>
                  <a:pt x="97994" y="192358"/>
                  <a:pt x="93565" y="192358"/>
                </a:cubicBezTo>
                <a:lnTo>
                  <a:pt x="29406" y="192358"/>
                </a:lnTo>
                <a:cubicBezTo>
                  <a:pt x="24977" y="192358"/>
                  <a:pt x="21386" y="195948"/>
                  <a:pt x="21386" y="200377"/>
                </a:cubicBezTo>
                <a:lnTo>
                  <a:pt x="21386" y="331367"/>
                </a:lnTo>
                <a:lnTo>
                  <a:pt x="8020" y="331367"/>
                </a:lnTo>
                <a:cubicBezTo>
                  <a:pt x="3591" y="331367"/>
                  <a:pt x="0" y="334958"/>
                  <a:pt x="0" y="339387"/>
                </a:cubicBezTo>
                <a:cubicBezTo>
                  <a:pt x="0" y="343816"/>
                  <a:pt x="3591" y="347407"/>
                  <a:pt x="8020" y="347407"/>
                </a:cubicBezTo>
                <a:lnTo>
                  <a:pt x="371586" y="347407"/>
                </a:lnTo>
                <a:cubicBezTo>
                  <a:pt x="376015" y="347407"/>
                  <a:pt x="379606" y="343816"/>
                  <a:pt x="379606" y="339387"/>
                </a:cubicBezTo>
                <a:lnTo>
                  <a:pt x="379606" y="31213"/>
                </a:lnTo>
                <a:lnTo>
                  <a:pt x="397784" y="50781"/>
                </a:lnTo>
                <a:cubicBezTo>
                  <a:pt x="401174" y="53632"/>
                  <a:pt x="406233" y="53195"/>
                  <a:pt x="409084" y="49806"/>
                </a:cubicBezTo>
                <a:cubicBezTo>
                  <a:pt x="411410" y="47040"/>
                  <a:pt x="411599" y="43062"/>
                  <a:pt x="409547" y="40088"/>
                </a:cubicBezTo>
                <a:close/>
                <a:moveTo>
                  <a:pt x="245942" y="74734"/>
                </a:moveTo>
                <a:lnTo>
                  <a:pt x="294061" y="74734"/>
                </a:lnTo>
                <a:lnTo>
                  <a:pt x="294061" y="331367"/>
                </a:lnTo>
                <a:lnTo>
                  <a:pt x="245942" y="331367"/>
                </a:lnTo>
                <a:close/>
                <a:moveTo>
                  <a:pt x="139011" y="144239"/>
                </a:moveTo>
                <a:lnTo>
                  <a:pt x="187130" y="144239"/>
                </a:lnTo>
                <a:lnTo>
                  <a:pt x="187130" y="331367"/>
                </a:lnTo>
                <a:lnTo>
                  <a:pt x="139011" y="331367"/>
                </a:lnTo>
                <a:close/>
                <a:moveTo>
                  <a:pt x="37426" y="208397"/>
                </a:moveTo>
                <a:lnTo>
                  <a:pt x="85545" y="208397"/>
                </a:lnTo>
                <a:lnTo>
                  <a:pt x="85545" y="331367"/>
                </a:lnTo>
                <a:lnTo>
                  <a:pt x="37426" y="331367"/>
                </a:lnTo>
                <a:close/>
              </a:path>
            </a:pathLst>
          </a:custGeom>
          <a:solidFill>
            <a:srgbClr val="51626F"/>
          </a:solidFill>
          <a:ln w="5281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3" name="Graphic 18">
            <a:extLst>
              <a:ext uri="{FF2B5EF4-FFF2-40B4-BE49-F238E27FC236}">
                <a16:creationId xmlns:a16="http://schemas.microsoft.com/office/drawing/2014/main" id="{2D03C994-57D2-7B03-7F49-870059084AE8}"/>
              </a:ext>
            </a:extLst>
          </p:cNvPr>
          <p:cNvSpPr/>
          <p:nvPr/>
        </p:nvSpPr>
        <p:spPr>
          <a:xfrm>
            <a:off x="897912" y="3936810"/>
            <a:ext cx="350609" cy="350618"/>
          </a:xfrm>
          <a:custGeom>
            <a:avLst/>
            <a:gdLst>
              <a:gd name="connsiteX0" fmla="*/ 430148 w 438247"/>
              <a:gd name="connsiteY0" fmla="*/ 0 h 438258"/>
              <a:gd name="connsiteX1" fmla="*/ 144364 w 438247"/>
              <a:gd name="connsiteY1" fmla="*/ 0 h 438258"/>
              <a:gd name="connsiteX2" fmla="*/ 136264 w 438247"/>
              <a:gd name="connsiteY2" fmla="*/ 8100 h 438258"/>
              <a:gd name="connsiteX3" fmla="*/ 136264 w 438247"/>
              <a:gd name="connsiteY3" fmla="*/ 124891 h 438258"/>
              <a:gd name="connsiteX4" fmla="*/ 8100 w 438247"/>
              <a:gd name="connsiteY4" fmla="*/ 124891 h 438258"/>
              <a:gd name="connsiteX5" fmla="*/ 0 w 438247"/>
              <a:gd name="connsiteY5" fmla="*/ 132991 h 438258"/>
              <a:gd name="connsiteX6" fmla="*/ 0 w 438247"/>
              <a:gd name="connsiteY6" fmla="*/ 360223 h 438258"/>
              <a:gd name="connsiteX7" fmla="*/ 8100 w 438247"/>
              <a:gd name="connsiteY7" fmla="*/ 368323 h 438258"/>
              <a:gd name="connsiteX8" fmla="*/ 75859 w 438247"/>
              <a:gd name="connsiteY8" fmla="*/ 368323 h 438258"/>
              <a:gd name="connsiteX9" fmla="*/ 139617 w 438247"/>
              <a:gd name="connsiteY9" fmla="*/ 435726 h 438258"/>
              <a:gd name="connsiteX10" fmla="*/ 145503 w 438247"/>
              <a:gd name="connsiteY10" fmla="*/ 438259 h 438258"/>
              <a:gd name="connsiteX11" fmla="*/ 148495 w 438247"/>
              <a:gd name="connsiteY11" fmla="*/ 437686 h 438258"/>
              <a:gd name="connsiteX12" fmla="*/ 153603 w 438247"/>
              <a:gd name="connsiteY12" fmla="*/ 430164 h 438258"/>
              <a:gd name="connsiteX13" fmla="*/ 153635 w 438247"/>
              <a:gd name="connsiteY13" fmla="*/ 368323 h 438258"/>
              <a:gd name="connsiteX14" fmla="*/ 307811 w 438247"/>
              <a:gd name="connsiteY14" fmla="*/ 368323 h 438258"/>
              <a:gd name="connsiteX15" fmla="*/ 315911 w 438247"/>
              <a:gd name="connsiteY15" fmla="*/ 360223 h 438258"/>
              <a:gd name="connsiteX16" fmla="*/ 315911 w 438247"/>
              <a:gd name="connsiteY16" fmla="*/ 243459 h 438258"/>
              <a:gd name="connsiteX17" fmla="*/ 430148 w 438247"/>
              <a:gd name="connsiteY17" fmla="*/ 243459 h 438258"/>
              <a:gd name="connsiteX18" fmla="*/ 438248 w 438247"/>
              <a:gd name="connsiteY18" fmla="*/ 235359 h 438258"/>
              <a:gd name="connsiteX19" fmla="*/ 438248 w 438247"/>
              <a:gd name="connsiteY19" fmla="*/ 8100 h 438258"/>
              <a:gd name="connsiteX20" fmla="*/ 430148 w 438247"/>
              <a:gd name="connsiteY20" fmla="*/ 0 h 438258"/>
              <a:gd name="connsiteX21" fmla="*/ 299711 w 438247"/>
              <a:gd name="connsiteY21" fmla="*/ 352123 h 438258"/>
              <a:gd name="connsiteX22" fmla="*/ 145541 w 438247"/>
              <a:gd name="connsiteY22" fmla="*/ 352123 h 438258"/>
              <a:gd name="connsiteX23" fmla="*/ 137441 w 438247"/>
              <a:gd name="connsiteY23" fmla="*/ 360223 h 438258"/>
              <a:gd name="connsiteX24" fmla="*/ 137414 w 438247"/>
              <a:gd name="connsiteY24" fmla="*/ 409828 h 438258"/>
              <a:gd name="connsiteX25" fmla="*/ 85234 w 438247"/>
              <a:gd name="connsiteY25" fmla="*/ 354661 h 438258"/>
              <a:gd name="connsiteX26" fmla="*/ 79348 w 438247"/>
              <a:gd name="connsiteY26" fmla="*/ 352129 h 438258"/>
              <a:gd name="connsiteX27" fmla="*/ 16200 w 438247"/>
              <a:gd name="connsiteY27" fmla="*/ 352129 h 438258"/>
              <a:gd name="connsiteX28" fmla="*/ 16200 w 438247"/>
              <a:gd name="connsiteY28" fmla="*/ 141097 h 438258"/>
              <a:gd name="connsiteX29" fmla="*/ 136264 w 438247"/>
              <a:gd name="connsiteY29" fmla="*/ 141097 h 438258"/>
              <a:gd name="connsiteX30" fmla="*/ 136264 w 438247"/>
              <a:gd name="connsiteY30" fmla="*/ 235364 h 438258"/>
              <a:gd name="connsiteX31" fmla="*/ 144364 w 438247"/>
              <a:gd name="connsiteY31" fmla="*/ 243464 h 438258"/>
              <a:gd name="connsiteX32" fmla="*/ 201739 w 438247"/>
              <a:gd name="connsiteY32" fmla="*/ 243464 h 438258"/>
              <a:gd name="connsiteX33" fmla="*/ 201739 w 438247"/>
              <a:gd name="connsiteY33" fmla="*/ 300278 h 438258"/>
              <a:gd name="connsiteX34" fmla="*/ 206701 w 438247"/>
              <a:gd name="connsiteY34" fmla="*/ 307746 h 438258"/>
              <a:gd name="connsiteX35" fmla="*/ 209833 w 438247"/>
              <a:gd name="connsiteY35" fmla="*/ 308378 h 438258"/>
              <a:gd name="connsiteX36" fmla="*/ 215509 w 438247"/>
              <a:gd name="connsiteY36" fmla="*/ 306056 h 438258"/>
              <a:gd name="connsiteX37" fmla="*/ 279293 w 438247"/>
              <a:gd name="connsiteY37" fmla="*/ 243464 h 438258"/>
              <a:gd name="connsiteX38" fmla="*/ 299711 w 438247"/>
              <a:gd name="connsiteY38" fmla="*/ 243464 h 438258"/>
              <a:gd name="connsiteX39" fmla="*/ 299711 w 438247"/>
              <a:gd name="connsiteY39" fmla="*/ 352123 h 438258"/>
              <a:gd name="connsiteX40" fmla="*/ 422048 w 438247"/>
              <a:gd name="connsiteY40" fmla="*/ 227259 h 438258"/>
              <a:gd name="connsiteX41" fmla="*/ 275989 w 438247"/>
              <a:gd name="connsiteY41" fmla="*/ 227259 h 438258"/>
              <a:gd name="connsiteX42" fmla="*/ 270313 w 438247"/>
              <a:gd name="connsiteY42" fmla="*/ 229576 h 438258"/>
              <a:gd name="connsiteX43" fmla="*/ 217933 w 438247"/>
              <a:gd name="connsiteY43" fmla="*/ 280973 h 438258"/>
              <a:gd name="connsiteX44" fmla="*/ 217933 w 438247"/>
              <a:gd name="connsiteY44" fmla="*/ 235359 h 438258"/>
              <a:gd name="connsiteX45" fmla="*/ 209833 w 438247"/>
              <a:gd name="connsiteY45" fmla="*/ 227259 h 438258"/>
              <a:gd name="connsiteX46" fmla="*/ 152458 w 438247"/>
              <a:gd name="connsiteY46" fmla="*/ 227259 h 438258"/>
              <a:gd name="connsiteX47" fmla="*/ 152458 w 438247"/>
              <a:gd name="connsiteY47" fmla="*/ 16200 h 438258"/>
              <a:gd name="connsiteX48" fmla="*/ 422042 w 438247"/>
              <a:gd name="connsiteY48" fmla="*/ 16200 h 438258"/>
              <a:gd name="connsiteX49" fmla="*/ 422042 w 438247"/>
              <a:gd name="connsiteY49" fmla="*/ 227254 h 438258"/>
              <a:gd name="connsiteX50" fmla="*/ 422048 w 438247"/>
              <a:gd name="connsiteY50" fmla="*/ 227254 h 438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438247" h="438258">
                <a:moveTo>
                  <a:pt x="430148" y="0"/>
                </a:moveTo>
                <a:lnTo>
                  <a:pt x="144364" y="0"/>
                </a:lnTo>
                <a:cubicBezTo>
                  <a:pt x="139887" y="0"/>
                  <a:pt x="136264" y="3629"/>
                  <a:pt x="136264" y="8100"/>
                </a:cubicBezTo>
                <a:lnTo>
                  <a:pt x="136264" y="124891"/>
                </a:lnTo>
                <a:lnTo>
                  <a:pt x="8100" y="124891"/>
                </a:lnTo>
                <a:cubicBezTo>
                  <a:pt x="3623" y="124891"/>
                  <a:pt x="0" y="128515"/>
                  <a:pt x="0" y="132991"/>
                </a:cubicBezTo>
                <a:lnTo>
                  <a:pt x="0" y="360223"/>
                </a:lnTo>
                <a:cubicBezTo>
                  <a:pt x="0" y="364700"/>
                  <a:pt x="3623" y="368323"/>
                  <a:pt x="8100" y="368323"/>
                </a:cubicBezTo>
                <a:lnTo>
                  <a:pt x="75859" y="368323"/>
                </a:lnTo>
                <a:lnTo>
                  <a:pt x="139617" y="435726"/>
                </a:lnTo>
                <a:cubicBezTo>
                  <a:pt x="141178" y="437378"/>
                  <a:pt x="143321" y="438259"/>
                  <a:pt x="145503" y="438259"/>
                </a:cubicBezTo>
                <a:cubicBezTo>
                  <a:pt x="146507" y="438259"/>
                  <a:pt x="147523" y="438070"/>
                  <a:pt x="148495" y="437686"/>
                </a:cubicBezTo>
                <a:cubicBezTo>
                  <a:pt x="151578" y="436460"/>
                  <a:pt x="153598" y="433480"/>
                  <a:pt x="153603" y="430164"/>
                </a:cubicBezTo>
                <a:lnTo>
                  <a:pt x="153635" y="368323"/>
                </a:lnTo>
                <a:lnTo>
                  <a:pt x="307811" y="368323"/>
                </a:lnTo>
                <a:cubicBezTo>
                  <a:pt x="312287" y="368323"/>
                  <a:pt x="315911" y="364700"/>
                  <a:pt x="315911" y="360223"/>
                </a:cubicBezTo>
                <a:lnTo>
                  <a:pt x="315911" y="243459"/>
                </a:lnTo>
                <a:lnTo>
                  <a:pt x="430148" y="243459"/>
                </a:lnTo>
                <a:cubicBezTo>
                  <a:pt x="434624" y="243459"/>
                  <a:pt x="438248" y="239830"/>
                  <a:pt x="438248" y="235359"/>
                </a:cubicBezTo>
                <a:lnTo>
                  <a:pt x="438248" y="8100"/>
                </a:lnTo>
                <a:cubicBezTo>
                  <a:pt x="438248" y="3629"/>
                  <a:pt x="434624" y="0"/>
                  <a:pt x="430148" y="0"/>
                </a:cubicBezTo>
                <a:close/>
                <a:moveTo>
                  <a:pt x="299711" y="352123"/>
                </a:moveTo>
                <a:lnTo>
                  <a:pt x="145541" y="352123"/>
                </a:lnTo>
                <a:cubicBezTo>
                  <a:pt x="141070" y="352123"/>
                  <a:pt x="137441" y="355747"/>
                  <a:pt x="137441" y="360223"/>
                </a:cubicBezTo>
                <a:lnTo>
                  <a:pt x="137414" y="409828"/>
                </a:lnTo>
                <a:lnTo>
                  <a:pt x="85234" y="354661"/>
                </a:lnTo>
                <a:cubicBezTo>
                  <a:pt x="83700" y="353047"/>
                  <a:pt x="81572" y="352129"/>
                  <a:pt x="79348" y="352129"/>
                </a:cubicBezTo>
                <a:lnTo>
                  <a:pt x="16200" y="352129"/>
                </a:lnTo>
                <a:lnTo>
                  <a:pt x="16200" y="141097"/>
                </a:lnTo>
                <a:lnTo>
                  <a:pt x="136264" y="141097"/>
                </a:lnTo>
                <a:lnTo>
                  <a:pt x="136264" y="235364"/>
                </a:lnTo>
                <a:cubicBezTo>
                  <a:pt x="136264" y="239836"/>
                  <a:pt x="139887" y="243464"/>
                  <a:pt x="144364" y="243464"/>
                </a:cubicBezTo>
                <a:lnTo>
                  <a:pt x="201739" y="243464"/>
                </a:lnTo>
                <a:lnTo>
                  <a:pt x="201739" y="300278"/>
                </a:lnTo>
                <a:cubicBezTo>
                  <a:pt x="201739" y="303539"/>
                  <a:pt x="203693" y="306482"/>
                  <a:pt x="206701" y="307746"/>
                </a:cubicBezTo>
                <a:cubicBezTo>
                  <a:pt x="207716" y="308173"/>
                  <a:pt x="208780" y="308378"/>
                  <a:pt x="209833" y="308378"/>
                </a:cubicBezTo>
                <a:cubicBezTo>
                  <a:pt x="211918" y="308378"/>
                  <a:pt x="213964" y="307573"/>
                  <a:pt x="215509" y="306056"/>
                </a:cubicBezTo>
                <a:lnTo>
                  <a:pt x="279293" y="243464"/>
                </a:lnTo>
                <a:lnTo>
                  <a:pt x="299711" y="243464"/>
                </a:lnTo>
                <a:lnTo>
                  <a:pt x="299711" y="352123"/>
                </a:lnTo>
                <a:close/>
                <a:moveTo>
                  <a:pt x="422048" y="227259"/>
                </a:moveTo>
                <a:lnTo>
                  <a:pt x="275989" y="227259"/>
                </a:lnTo>
                <a:cubicBezTo>
                  <a:pt x="273866" y="227259"/>
                  <a:pt x="271831" y="228091"/>
                  <a:pt x="270313" y="229576"/>
                </a:cubicBezTo>
                <a:lnTo>
                  <a:pt x="217933" y="280973"/>
                </a:lnTo>
                <a:lnTo>
                  <a:pt x="217933" y="235359"/>
                </a:lnTo>
                <a:cubicBezTo>
                  <a:pt x="217933" y="230882"/>
                  <a:pt x="214310" y="227259"/>
                  <a:pt x="209833" y="227259"/>
                </a:cubicBezTo>
                <a:lnTo>
                  <a:pt x="152458" y="227259"/>
                </a:lnTo>
                <a:lnTo>
                  <a:pt x="152458" y="16200"/>
                </a:lnTo>
                <a:lnTo>
                  <a:pt x="422042" y="16200"/>
                </a:lnTo>
                <a:lnTo>
                  <a:pt x="422042" y="227254"/>
                </a:lnTo>
                <a:lnTo>
                  <a:pt x="422048" y="227254"/>
                </a:lnTo>
                <a:close/>
              </a:path>
            </a:pathLst>
          </a:custGeom>
          <a:solidFill>
            <a:srgbClr val="51626F"/>
          </a:solidFill>
          <a:ln w="5334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 dirty="0"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endParaRPr lang="ru-RU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325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F65189E0-034C-4951-81B9-7069BFA1A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F65189E0-034C-4951-81B9-7069BFA1A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6EBAB1E-DAD1-44C5-BECF-38EAA568E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8431847" cy="332399"/>
          </a:xfrm>
        </p:spPr>
        <p:txBody>
          <a:bodyPr/>
          <a:lstStyle/>
          <a:p>
            <a:r>
              <a:rPr lang="ru-RU" b="1" dirty="0">
                <a:latin typeface="Inter" panose="02000503000000020004" pitchFamily="2" charset="0"/>
                <a:ea typeface="Inter" panose="02000503000000020004" pitchFamily="2" charset="0"/>
              </a:rPr>
              <a:t>Обязательные дисциплины</a:t>
            </a:r>
            <a:endParaRPr lang="ru-RU" b="1" dirty="0">
              <a:solidFill>
                <a:schemeClr val="bg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4149AD1-15FE-4014-9B40-835D34E3F4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AA8A74-8566-41AB-BE36-77E5736D8C67}" type="slidenum">
              <a:rPr lang="ru-RU" smtClean="0"/>
              <a:pPr/>
              <a:t>4</a:t>
            </a:fld>
            <a:endParaRPr lang="ru-RU" sz="1000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1EB75753-53A2-43C0-B59A-637C9357F4E9}"/>
              </a:ext>
            </a:extLst>
          </p:cNvPr>
          <p:cNvGrpSpPr/>
          <p:nvPr/>
        </p:nvGrpSpPr>
        <p:grpSpPr>
          <a:xfrm>
            <a:off x="781807" y="1216578"/>
            <a:ext cx="3303633" cy="4647326"/>
            <a:chOff x="781807" y="1216578"/>
            <a:chExt cx="3303633" cy="4647326"/>
          </a:xfrm>
        </p:grpSpPr>
        <p:sp>
          <p:nvSpPr>
            <p:cNvPr id="35" name="Rounded Rectangle 76">
              <a:extLst>
                <a:ext uri="{FF2B5EF4-FFF2-40B4-BE49-F238E27FC236}">
                  <a16:creationId xmlns:a16="http://schemas.microsoft.com/office/drawing/2014/main" id="{27EBC2F8-87EC-4298-8BA0-CD9143BA54F1}"/>
                </a:ext>
              </a:extLst>
            </p:cNvPr>
            <p:cNvSpPr/>
            <p:nvPr/>
          </p:nvSpPr>
          <p:spPr>
            <a:xfrm>
              <a:off x="781808" y="2101666"/>
              <a:ext cx="3294321" cy="3762238"/>
            </a:xfrm>
            <a:prstGeom prst="roundRect">
              <a:avLst>
                <a:gd name="adj" fmla="val 2963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288000" rIns="144000" bIns="108000" rtlCol="0" anchor="t" anchorCtr="0">
              <a:noAutofit/>
            </a:bodyPr>
            <a:lstStyle/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Business History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Macroeconomics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Microeconomics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Management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Introduction to Finance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Financial Accounting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Business Communications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Digital Tools for Managers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Mathematics for Managers</a:t>
              </a:r>
            </a:p>
            <a:p>
              <a:pPr lvl="0">
                <a:lnSpc>
                  <a:spcPct val="90000"/>
                </a:lnSpc>
                <a:spcAft>
                  <a:spcPts val="400"/>
                </a:spcAft>
                <a:buClr>
                  <a:schemeClr val="accent1"/>
                </a:buClr>
                <a:defRPr/>
              </a:pPr>
              <a:endParaRPr lang="ru-RU" sz="1400" dirty="0">
                <a:solidFill>
                  <a:schemeClr val="bg2"/>
                </a:solidFill>
              </a:endParaRPr>
            </a:p>
          </p:txBody>
        </p:sp>
        <p:sp>
          <p:nvSpPr>
            <p:cNvPr id="40" name="Rounded Rectangle 76">
              <a:extLst>
                <a:ext uri="{FF2B5EF4-FFF2-40B4-BE49-F238E27FC236}">
                  <a16:creationId xmlns:a16="http://schemas.microsoft.com/office/drawing/2014/main" id="{A0135AAC-B0B8-4EC3-9F52-B76F8215CF6F}"/>
                </a:ext>
              </a:extLst>
            </p:cNvPr>
            <p:cNvSpPr/>
            <p:nvPr/>
          </p:nvSpPr>
          <p:spPr>
            <a:xfrm>
              <a:off x="781807" y="1216578"/>
              <a:ext cx="3303633" cy="995881"/>
            </a:xfrm>
            <a:prstGeom prst="roundRect">
              <a:avLst>
                <a:gd name="adj" fmla="val 7593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5400000" scaled="1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/>
                <a:t> </a:t>
              </a:r>
            </a:p>
          </p:txBody>
        </p:sp>
        <p:sp>
          <p:nvSpPr>
            <p:cNvPr id="41" name="Текст 2">
              <a:extLst>
                <a:ext uri="{FF2B5EF4-FFF2-40B4-BE49-F238E27FC236}">
                  <a16:creationId xmlns:a16="http://schemas.microsoft.com/office/drawing/2014/main" id="{7D14C43E-8AA5-4FAE-AE6F-8D496E271B51}"/>
                </a:ext>
              </a:extLst>
            </p:cNvPr>
            <p:cNvSpPr txBox="1">
              <a:spLocks/>
            </p:cNvSpPr>
            <p:nvPr/>
          </p:nvSpPr>
          <p:spPr>
            <a:xfrm>
              <a:off x="892753" y="1601198"/>
              <a:ext cx="3083630" cy="24622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lvl="0" algn="ctr">
                <a:spcAft>
                  <a:spcPts val="200"/>
                </a:spcAft>
                <a:defRPr/>
              </a:pPr>
              <a:r>
                <a:rPr lang="ru-RU" sz="1600" dirty="0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1 курс</a:t>
              </a:r>
            </a:p>
          </p:txBody>
        </p:sp>
        <p:pic>
          <p:nvPicPr>
            <p:cNvPr id="42" name="Рисунок 82">
              <a:extLst>
                <a:ext uri="{FF2B5EF4-FFF2-40B4-BE49-F238E27FC236}">
                  <a16:creationId xmlns:a16="http://schemas.microsoft.com/office/drawing/2014/main" id="{50207FA1-5D55-438C-972A-05BFE3A301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r="32982" b="28281"/>
            <a:stretch/>
          </p:blipFill>
          <p:spPr>
            <a:xfrm>
              <a:off x="3329691" y="1236158"/>
              <a:ext cx="746438" cy="976302"/>
            </a:xfrm>
            <a:prstGeom prst="rect">
              <a:avLst/>
            </a:prstGeom>
          </p:spPr>
        </p:pic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4098487E-C1C5-4447-9B96-6479A02F2A7F}"/>
              </a:ext>
            </a:extLst>
          </p:cNvPr>
          <p:cNvGrpSpPr/>
          <p:nvPr/>
        </p:nvGrpSpPr>
        <p:grpSpPr>
          <a:xfrm>
            <a:off x="4281414" y="1216578"/>
            <a:ext cx="3303633" cy="4647327"/>
            <a:chOff x="781807" y="1216578"/>
            <a:chExt cx="3303633" cy="4647327"/>
          </a:xfrm>
        </p:grpSpPr>
        <p:sp>
          <p:nvSpPr>
            <p:cNvPr id="50" name="Rounded Rectangle 76">
              <a:extLst>
                <a:ext uri="{FF2B5EF4-FFF2-40B4-BE49-F238E27FC236}">
                  <a16:creationId xmlns:a16="http://schemas.microsoft.com/office/drawing/2014/main" id="{E82ECD98-606F-48A8-9060-4EEA277EE80C}"/>
                </a:ext>
              </a:extLst>
            </p:cNvPr>
            <p:cNvSpPr/>
            <p:nvPr/>
          </p:nvSpPr>
          <p:spPr>
            <a:xfrm>
              <a:off x="781808" y="2101667"/>
              <a:ext cx="3294321" cy="3762238"/>
            </a:xfrm>
            <a:prstGeom prst="roundRect">
              <a:avLst>
                <a:gd name="adj" fmla="val 2963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288000" rIns="144000" bIns="108000" rtlCol="0" anchor="t" anchorCtr="0">
              <a:noAutofit/>
            </a:bodyPr>
            <a:lstStyle/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International Economics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Marketing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Human Resource Management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Financial Analysis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Financial Management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Organizational Behavior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Statistics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Quantitative Methods of Decision Making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Business Ethics and Corporate Social Responsibility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Entrepreneurship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Law</a:t>
              </a:r>
            </a:p>
          </p:txBody>
        </p:sp>
        <p:sp>
          <p:nvSpPr>
            <p:cNvPr id="51" name="Rounded Rectangle 76">
              <a:extLst>
                <a:ext uri="{FF2B5EF4-FFF2-40B4-BE49-F238E27FC236}">
                  <a16:creationId xmlns:a16="http://schemas.microsoft.com/office/drawing/2014/main" id="{92EFA0C2-A54D-4919-A5C6-C299E3360048}"/>
                </a:ext>
              </a:extLst>
            </p:cNvPr>
            <p:cNvSpPr/>
            <p:nvPr/>
          </p:nvSpPr>
          <p:spPr>
            <a:xfrm>
              <a:off x="781807" y="1216578"/>
              <a:ext cx="3303633" cy="995881"/>
            </a:xfrm>
            <a:prstGeom prst="roundRect">
              <a:avLst>
                <a:gd name="adj" fmla="val 75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/>
                <a:t> </a:t>
              </a:r>
            </a:p>
          </p:txBody>
        </p:sp>
        <p:sp>
          <p:nvSpPr>
            <p:cNvPr id="52" name="Текст 2">
              <a:extLst>
                <a:ext uri="{FF2B5EF4-FFF2-40B4-BE49-F238E27FC236}">
                  <a16:creationId xmlns:a16="http://schemas.microsoft.com/office/drawing/2014/main" id="{2B026D9F-C327-4BEB-8613-0B08003877AB}"/>
                </a:ext>
              </a:extLst>
            </p:cNvPr>
            <p:cNvSpPr txBox="1">
              <a:spLocks/>
            </p:cNvSpPr>
            <p:nvPr/>
          </p:nvSpPr>
          <p:spPr>
            <a:xfrm>
              <a:off x="892753" y="1601198"/>
              <a:ext cx="3083630" cy="24622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lvl="0" algn="ctr">
                <a:spcAft>
                  <a:spcPts val="200"/>
                </a:spcAft>
                <a:defRPr/>
              </a:pPr>
              <a:r>
                <a:rPr lang="ru-RU" sz="1600" dirty="0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2 курс</a:t>
              </a:r>
            </a:p>
          </p:txBody>
        </p:sp>
        <p:pic>
          <p:nvPicPr>
            <p:cNvPr id="53" name="Рисунок 82">
              <a:extLst>
                <a:ext uri="{FF2B5EF4-FFF2-40B4-BE49-F238E27FC236}">
                  <a16:creationId xmlns:a16="http://schemas.microsoft.com/office/drawing/2014/main" id="{DFC28799-DCAC-4869-BFC3-E59F4E7E97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r="32982" b="28281"/>
            <a:stretch/>
          </p:blipFill>
          <p:spPr>
            <a:xfrm>
              <a:off x="3329691" y="1236158"/>
              <a:ext cx="746438" cy="976302"/>
            </a:xfrm>
            <a:prstGeom prst="rect">
              <a:avLst/>
            </a:prstGeom>
          </p:spPr>
        </p:pic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92BBD323-69E4-46CB-A5AA-250683713E1F}"/>
              </a:ext>
            </a:extLst>
          </p:cNvPr>
          <p:cNvGrpSpPr/>
          <p:nvPr/>
        </p:nvGrpSpPr>
        <p:grpSpPr>
          <a:xfrm>
            <a:off x="7796167" y="1216578"/>
            <a:ext cx="3303633" cy="4647325"/>
            <a:chOff x="781807" y="1216578"/>
            <a:chExt cx="3303633" cy="4647325"/>
          </a:xfrm>
        </p:grpSpPr>
        <p:sp>
          <p:nvSpPr>
            <p:cNvPr id="55" name="Rounded Rectangle 76">
              <a:extLst>
                <a:ext uri="{FF2B5EF4-FFF2-40B4-BE49-F238E27FC236}">
                  <a16:creationId xmlns:a16="http://schemas.microsoft.com/office/drawing/2014/main" id="{AE50AEE3-1AA0-4FFC-9E7A-00D0D638C613}"/>
                </a:ext>
              </a:extLst>
            </p:cNvPr>
            <p:cNvSpPr/>
            <p:nvPr/>
          </p:nvSpPr>
          <p:spPr>
            <a:xfrm>
              <a:off x="781808" y="2101666"/>
              <a:ext cx="3294321" cy="3762237"/>
            </a:xfrm>
            <a:prstGeom prst="roundRect">
              <a:avLst>
                <a:gd name="adj" fmla="val 2963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288000" rIns="144000" bIns="108000" rtlCol="0" anchor="t" anchorCtr="0">
              <a:noAutofit/>
            </a:bodyPr>
            <a:lstStyle/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Strategic Management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Business Analytics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Cross-Cultural Management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Basics of Rhetoric and Negotiations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International Business Strategies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Project Management</a:t>
              </a:r>
            </a:p>
            <a:p>
              <a:pPr marL="108000" lvl="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Operations Management</a:t>
              </a:r>
            </a:p>
            <a:p>
              <a:pPr marL="10800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International Relations</a:t>
              </a:r>
            </a:p>
            <a:p>
              <a:pPr marL="10800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schemeClr val="bg2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Philosophy</a:t>
              </a:r>
              <a:endParaRPr lang="ru-RU" sz="140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  <a:p>
              <a:pPr marL="108000" indent="-108000"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endParaRPr lang="en-US" sz="1400" dirty="0">
                <a:solidFill>
                  <a:schemeClr val="bg2"/>
                </a:solidFill>
                <a:latin typeface="Euclid Circular A" panose="020B0504000000000000" pitchFamily="34" charset="-52"/>
                <a:ea typeface="Euclid Circular A" panose="020B0504000000000000" pitchFamily="34" charset="-52"/>
              </a:endParaRPr>
            </a:p>
            <a:p>
              <a:pPr lvl="0">
                <a:lnSpc>
                  <a:spcPct val="90000"/>
                </a:lnSpc>
                <a:spcAft>
                  <a:spcPts val="400"/>
                </a:spcAft>
                <a:buClr>
                  <a:schemeClr val="accent1"/>
                </a:buClr>
                <a:defRPr/>
              </a:pPr>
              <a:endParaRPr lang="ru-RU" sz="1400" dirty="0">
                <a:solidFill>
                  <a:schemeClr val="bg2"/>
                </a:solidFill>
              </a:endParaRPr>
            </a:p>
          </p:txBody>
        </p:sp>
        <p:sp>
          <p:nvSpPr>
            <p:cNvPr id="56" name="Rounded Rectangle 76">
              <a:extLst>
                <a:ext uri="{FF2B5EF4-FFF2-40B4-BE49-F238E27FC236}">
                  <a16:creationId xmlns:a16="http://schemas.microsoft.com/office/drawing/2014/main" id="{DC3D7260-972B-469C-814B-EA3760527BD6}"/>
                </a:ext>
              </a:extLst>
            </p:cNvPr>
            <p:cNvSpPr/>
            <p:nvPr/>
          </p:nvSpPr>
          <p:spPr>
            <a:xfrm>
              <a:off x="781807" y="1216578"/>
              <a:ext cx="3303633" cy="995881"/>
            </a:xfrm>
            <a:prstGeom prst="roundRect">
              <a:avLst>
                <a:gd name="adj" fmla="val 7593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/>
                <a:t> </a:t>
              </a:r>
            </a:p>
          </p:txBody>
        </p:sp>
        <p:sp>
          <p:nvSpPr>
            <p:cNvPr id="57" name="Текст 2">
              <a:extLst>
                <a:ext uri="{FF2B5EF4-FFF2-40B4-BE49-F238E27FC236}">
                  <a16:creationId xmlns:a16="http://schemas.microsoft.com/office/drawing/2014/main" id="{AF88BA16-FCF6-4DC3-9B47-2F1F02D8DF6F}"/>
                </a:ext>
              </a:extLst>
            </p:cNvPr>
            <p:cNvSpPr txBox="1">
              <a:spLocks/>
            </p:cNvSpPr>
            <p:nvPr/>
          </p:nvSpPr>
          <p:spPr>
            <a:xfrm>
              <a:off x="892753" y="1601198"/>
              <a:ext cx="3083630" cy="24622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lvl="0" algn="ctr">
                <a:spcAft>
                  <a:spcPts val="200"/>
                </a:spcAft>
                <a:defRPr/>
              </a:pPr>
              <a:r>
                <a:rPr lang="ru-RU" sz="1600" dirty="0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3 и 4 курсы</a:t>
              </a:r>
            </a:p>
          </p:txBody>
        </p:sp>
        <p:pic>
          <p:nvPicPr>
            <p:cNvPr id="58" name="Рисунок 82">
              <a:extLst>
                <a:ext uri="{FF2B5EF4-FFF2-40B4-BE49-F238E27FC236}">
                  <a16:creationId xmlns:a16="http://schemas.microsoft.com/office/drawing/2014/main" id="{7FDCA73B-9AAF-4E2A-BDEE-22ED727135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r="32982" b="28281"/>
            <a:stretch/>
          </p:blipFill>
          <p:spPr>
            <a:xfrm>
              <a:off x="3329691" y="1236158"/>
              <a:ext cx="746438" cy="9763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31683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43">
            <a:extLst>
              <a:ext uri="{FF2B5EF4-FFF2-40B4-BE49-F238E27FC236}">
                <a16:creationId xmlns:a16="http://schemas.microsoft.com/office/drawing/2014/main" id="{6E548266-E942-3E59-29D4-F054710AD722}"/>
              </a:ext>
            </a:extLst>
          </p:cNvPr>
          <p:cNvSpPr/>
          <p:nvPr/>
        </p:nvSpPr>
        <p:spPr>
          <a:xfrm>
            <a:off x="7861239" y="1125415"/>
            <a:ext cx="3302058" cy="4404947"/>
          </a:xfrm>
          <a:custGeom>
            <a:avLst/>
            <a:gdLst>
              <a:gd name="connsiteX0" fmla="*/ 58322 w 5001012"/>
              <a:gd name="connsiteY0" fmla="*/ 0 h 4304219"/>
              <a:gd name="connsiteX1" fmla="*/ 5001012 w 5001012"/>
              <a:gd name="connsiteY1" fmla="*/ 0 h 4304219"/>
              <a:gd name="connsiteX2" fmla="*/ 5001012 w 5001012"/>
              <a:gd name="connsiteY2" fmla="*/ 4304219 h 4304219"/>
              <a:gd name="connsiteX3" fmla="*/ 58322 w 5001012"/>
              <a:gd name="connsiteY3" fmla="*/ 4304219 h 4304219"/>
              <a:gd name="connsiteX4" fmla="*/ 0 w 5001012"/>
              <a:gd name="connsiteY4" fmla="*/ 4245897 h 4304219"/>
              <a:gd name="connsiteX5" fmla="*/ 0 w 5001012"/>
              <a:gd name="connsiteY5" fmla="*/ 58322 h 4304219"/>
              <a:gd name="connsiteX6" fmla="*/ 58322 w 5001012"/>
              <a:gd name="connsiteY6" fmla="*/ 0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1012" h="4304219">
                <a:moveTo>
                  <a:pt x="58322" y="0"/>
                </a:moveTo>
                <a:lnTo>
                  <a:pt x="5001012" y="0"/>
                </a:lnTo>
                <a:lnTo>
                  <a:pt x="5001012" y="4304219"/>
                </a:lnTo>
                <a:lnTo>
                  <a:pt x="58322" y="4304219"/>
                </a:lnTo>
                <a:cubicBezTo>
                  <a:pt x="26112" y="4304219"/>
                  <a:pt x="0" y="4278107"/>
                  <a:pt x="0" y="4245897"/>
                </a:cubicBezTo>
                <a:lnTo>
                  <a:pt x="0" y="58322"/>
                </a:lnTo>
                <a:cubicBezTo>
                  <a:pt x="0" y="26112"/>
                  <a:pt x="26112" y="0"/>
                  <a:pt x="5832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1442" rIns="72000" bIns="71442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ru-RU" sz="900" dirty="0">
              <a:solidFill>
                <a:srgbClr val="BE1E2D"/>
              </a:solidFill>
              <a:latin typeface="Montserrat SemiBold"/>
              <a:cs typeface="Arial" panose="020B0604020202020204" pitchFamily="34" charset="0"/>
            </a:endParaRPr>
          </a:p>
        </p:txBody>
      </p:sp>
      <p:sp>
        <p:nvSpPr>
          <p:cNvPr id="3" name="Freeform: Shape 43">
            <a:extLst>
              <a:ext uri="{FF2B5EF4-FFF2-40B4-BE49-F238E27FC236}">
                <a16:creationId xmlns:a16="http://schemas.microsoft.com/office/drawing/2014/main" id="{27E63650-D28D-A40B-B670-4F9D1DBEA21F}"/>
              </a:ext>
            </a:extLst>
          </p:cNvPr>
          <p:cNvSpPr/>
          <p:nvPr/>
        </p:nvSpPr>
        <p:spPr>
          <a:xfrm>
            <a:off x="4410259" y="1125415"/>
            <a:ext cx="3302058" cy="4404947"/>
          </a:xfrm>
          <a:custGeom>
            <a:avLst/>
            <a:gdLst>
              <a:gd name="connsiteX0" fmla="*/ 58322 w 5001012"/>
              <a:gd name="connsiteY0" fmla="*/ 0 h 4304219"/>
              <a:gd name="connsiteX1" fmla="*/ 5001012 w 5001012"/>
              <a:gd name="connsiteY1" fmla="*/ 0 h 4304219"/>
              <a:gd name="connsiteX2" fmla="*/ 5001012 w 5001012"/>
              <a:gd name="connsiteY2" fmla="*/ 4304219 h 4304219"/>
              <a:gd name="connsiteX3" fmla="*/ 58322 w 5001012"/>
              <a:gd name="connsiteY3" fmla="*/ 4304219 h 4304219"/>
              <a:gd name="connsiteX4" fmla="*/ 0 w 5001012"/>
              <a:gd name="connsiteY4" fmla="*/ 4245897 h 4304219"/>
              <a:gd name="connsiteX5" fmla="*/ 0 w 5001012"/>
              <a:gd name="connsiteY5" fmla="*/ 58322 h 4304219"/>
              <a:gd name="connsiteX6" fmla="*/ 58322 w 5001012"/>
              <a:gd name="connsiteY6" fmla="*/ 0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1012" h="4304219">
                <a:moveTo>
                  <a:pt x="58322" y="0"/>
                </a:moveTo>
                <a:lnTo>
                  <a:pt x="5001012" y="0"/>
                </a:lnTo>
                <a:lnTo>
                  <a:pt x="5001012" y="4304219"/>
                </a:lnTo>
                <a:lnTo>
                  <a:pt x="58322" y="4304219"/>
                </a:lnTo>
                <a:cubicBezTo>
                  <a:pt x="26112" y="4304219"/>
                  <a:pt x="0" y="4278107"/>
                  <a:pt x="0" y="4245897"/>
                </a:cubicBezTo>
                <a:lnTo>
                  <a:pt x="0" y="58322"/>
                </a:lnTo>
                <a:cubicBezTo>
                  <a:pt x="0" y="26112"/>
                  <a:pt x="26112" y="0"/>
                  <a:pt x="5832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1442" rIns="72000" bIns="71442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ru-RU" sz="900" dirty="0">
              <a:solidFill>
                <a:srgbClr val="BE1E2D"/>
              </a:solidFill>
              <a:latin typeface="Montserrat SemiBold"/>
              <a:cs typeface="Arial" panose="020B0604020202020204" pitchFamily="34" charset="0"/>
            </a:endParaRPr>
          </a:p>
        </p:txBody>
      </p:sp>
      <p:sp>
        <p:nvSpPr>
          <p:cNvPr id="2" name="Freeform: Shape 43">
            <a:extLst>
              <a:ext uri="{FF2B5EF4-FFF2-40B4-BE49-F238E27FC236}">
                <a16:creationId xmlns:a16="http://schemas.microsoft.com/office/drawing/2014/main" id="{AFED0C0C-D48D-EFB3-B0A2-6CFAC57433A5}"/>
              </a:ext>
            </a:extLst>
          </p:cNvPr>
          <p:cNvSpPr/>
          <p:nvPr/>
        </p:nvSpPr>
        <p:spPr>
          <a:xfrm>
            <a:off x="976863" y="1125415"/>
            <a:ext cx="3302058" cy="4404947"/>
          </a:xfrm>
          <a:custGeom>
            <a:avLst/>
            <a:gdLst>
              <a:gd name="connsiteX0" fmla="*/ 58322 w 5001012"/>
              <a:gd name="connsiteY0" fmla="*/ 0 h 4304219"/>
              <a:gd name="connsiteX1" fmla="*/ 5001012 w 5001012"/>
              <a:gd name="connsiteY1" fmla="*/ 0 h 4304219"/>
              <a:gd name="connsiteX2" fmla="*/ 5001012 w 5001012"/>
              <a:gd name="connsiteY2" fmla="*/ 4304219 h 4304219"/>
              <a:gd name="connsiteX3" fmla="*/ 58322 w 5001012"/>
              <a:gd name="connsiteY3" fmla="*/ 4304219 h 4304219"/>
              <a:gd name="connsiteX4" fmla="*/ 0 w 5001012"/>
              <a:gd name="connsiteY4" fmla="*/ 4245897 h 4304219"/>
              <a:gd name="connsiteX5" fmla="*/ 0 w 5001012"/>
              <a:gd name="connsiteY5" fmla="*/ 58322 h 4304219"/>
              <a:gd name="connsiteX6" fmla="*/ 58322 w 5001012"/>
              <a:gd name="connsiteY6" fmla="*/ 0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1012" h="4304219">
                <a:moveTo>
                  <a:pt x="58322" y="0"/>
                </a:moveTo>
                <a:lnTo>
                  <a:pt x="5001012" y="0"/>
                </a:lnTo>
                <a:lnTo>
                  <a:pt x="5001012" y="4304219"/>
                </a:lnTo>
                <a:lnTo>
                  <a:pt x="58322" y="4304219"/>
                </a:lnTo>
                <a:cubicBezTo>
                  <a:pt x="26112" y="4304219"/>
                  <a:pt x="0" y="4278107"/>
                  <a:pt x="0" y="4245897"/>
                </a:cubicBezTo>
                <a:lnTo>
                  <a:pt x="0" y="58322"/>
                </a:lnTo>
                <a:cubicBezTo>
                  <a:pt x="0" y="26112"/>
                  <a:pt x="26112" y="0"/>
                  <a:pt x="5832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1442" rIns="72000" bIns="71442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ru-RU" sz="900" dirty="0">
              <a:solidFill>
                <a:srgbClr val="BE1E2D"/>
              </a:solidFill>
              <a:latin typeface="Montserrat SemiBold"/>
              <a:cs typeface="Arial" panose="020B0604020202020204" pitchFamily="34" charset="0"/>
            </a:endParaRPr>
          </a:p>
        </p:txBody>
      </p:sp>
      <p:pic>
        <p:nvPicPr>
          <p:cNvPr id="14" name="Рисунок 82"/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39139" b="28281"/>
          <a:stretch>
            <a:fillRect/>
          </a:stretch>
        </p:blipFill>
        <p:spPr>
          <a:xfrm>
            <a:off x="8505330" y="1606215"/>
            <a:ext cx="3675544" cy="5293730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7103107"/>
              </p:ext>
            </p:extLst>
          </p:nvPr>
        </p:nvGraphicFramePr>
        <p:xfrm>
          <a:off x="1091695" y="1331448"/>
          <a:ext cx="10352160" cy="4058877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4329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329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862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588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9pPr>
                    </a:lstStyle>
                    <a:p>
                      <a:pPr marL="285750" indent="-285750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u="none" strike="noStrike" cap="none" spc="20" dirty="0">
                          <a:solidFill>
                            <a:schemeClr val="bg2"/>
                          </a:solidFill>
                          <a:effectLst/>
                          <a:latin typeface="Inter" panose="02000503000000020004" pitchFamily="2" charset="0"/>
                          <a:ea typeface="Inter" panose="02000503000000020004" pitchFamily="2" charset="0"/>
                          <a:sym typeface="Arial" panose="020B0604020202020204"/>
                        </a:rPr>
                        <a:t>World Economy: Modern Challeng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1200" b="0" u="none" strike="noStrike" cap="none" spc="20" dirty="0">
                          <a:solidFill>
                            <a:schemeClr val="bg2"/>
                          </a:solidFill>
                          <a:effectLst/>
                          <a:latin typeface="Inter" panose="02000503000000020004" pitchFamily="2" charset="0"/>
                          <a:ea typeface="Inter" panose="02000503000000020004" pitchFamily="2" charset="0"/>
                          <a:sym typeface="Arial" panose="020B0604020202020204"/>
                        </a:rPr>
                        <a:t>International Political Econom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1200" b="0" u="none" strike="noStrike" cap="none" spc="20" dirty="0">
                          <a:solidFill>
                            <a:schemeClr val="bg2"/>
                          </a:solidFill>
                          <a:effectLst/>
                          <a:latin typeface="Inter" panose="02000503000000020004" pitchFamily="2" charset="0"/>
                          <a:ea typeface="Inter" panose="02000503000000020004" pitchFamily="2" charset="0"/>
                          <a:sym typeface="Arial" panose="020B0604020202020204"/>
                        </a:rPr>
                        <a:t>Management Accounting</a:t>
                      </a:r>
                      <a:endParaRPr lang="ru-RU" sz="1200" spc="2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International Finance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International Human Resource Management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Corporate Governance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Business-Government Relations </a:t>
                      </a:r>
                      <a:br>
                        <a:rPr lang="ru-RU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</a:b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and Nonmarket Strategies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Energy Market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Urban Economic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Social Innovation and </a:t>
                      </a:r>
                      <a:b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</a:br>
                      <a:r>
                        <a:rPr lang="en-US" sz="1200" kern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  <a:cs typeface="+mn-cs"/>
                        </a:rPr>
                        <a:t>Entrepreneurship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kern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  <a:cs typeface="+mn-cs"/>
                        </a:rPr>
                        <a:t>Management of Non-Profit Organizations</a:t>
                      </a:r>
                      <a:endParaRPr lang="ru-RU" sz="1200" kern="1200" spc="2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  <a:cs typeface="+mn-cs"/>
                      </a:endParaRPr>
                    </a:p>
                    <a:p>
                      <a:pPr marL="285750" indent="-285750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endParaRPr lang="en-US" sz="1200" spc="2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</a:endParaRP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GB" sz="1200" b="0" u="none" strike="noStrike" cap="none" spc="20" dirty="0">
                          <a:solidFill>
                            <a:schemeClr val="bg2"/>
                          </a:solidFill>
                          <a:effectLst/>
                          <a:latin typeface="Inter" panose="02000503000000020004" pitchFamily="2" charset="0"/>
                          <a:ea typeface="Inter" panose="02000503000000020004" pitchFamily="2" charset="0"/>
                          <a:sym typeface="Arial" panose="020B0604020202020204"/>
                        </a:rPr>
                        <a:t>Methods of Business Research</a:t>
                      </a:r>
                      <a:endParaRPr lang="ru-RU" sz="1200" spc="2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baseline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Econometric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Artificial Intelligence</a:t>
                      </a:r>
                      <a:endParaRPr lang="ru-RU" sz="1200" spc="2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Research in Human Resource Manage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Marketing Research</a:t>
                      </a:r>
                      <a:endParaRPr lang="ru-RU" sz="1200" spc="2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Marketing Analytic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Design Think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u="none" strike="noStrike" cap="none" spc="20" baseline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Behavioral Financ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New Institutional Economics</a:t>
                      </a:r>
                      <a:endParaRPr lang="ru-RU" sz="1200" spc="2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Basics of Modern Financial </a:t>
                      </a:r>
                      <a:br>
                        <a:rPr lang="ru-RU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</a:b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Technologi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Service Manage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Management in IT</a:t>
                      </a:r>
                      <a:endParaRPr lang="ru-RU" sz="1200" spc="2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u="none" strike="noStrike" cap="none" spc="20" baseline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Management in FMC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1200" spc="2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</a:endParaRPr>
                    </a:p>
                  </a:txBody>
                  <a:tcPr marL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Montserrat Light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Business Process Manage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Product Manage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Environmental Manage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Building Sustainable Value Chai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Environmental Manage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Innovation Manage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Social Media Marketing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u="none" strike="noStrike" cap="none" spc="20" baseline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Digital Marketing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u="none" strike="noStrike" cap="none" spc="20" baseline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Industrial Marketing</a:t>
                      </a:r>
                      <a:endParaRPr lang="ru-RU" sz="1200" b="0" u="none" strike="noStrike" cap="none" spc="20" baseline="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u="none" strike="noStrike" cap="none" spc="20" baseline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Retail Manage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b="0" u="none" strike="noStrike" cap="none" spc="20" baseline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Technology Innovation Manage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spc="2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Doing Business in Asia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endParaRPr lang="en-US" sz="1200" b="0" u="none" strike="noStrike" cap="none" spc="20" baseline="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</a:endParaRPr>
                    </a:p>
                  </a:txBody>
                  <a:tcPr marL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25438" y="5791551"/>
            <a:ext cx="8614181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US" sz="1600" kern="0" dirty="0">
                <a:solidFill>
                  <a:srgbClr val="C00000"/>
                </a:solidFill>
                <a:latin typeface="Inter" panose="02000503000000020004"/>
                <a:ea typeface="Inter" panose="02000503000000020004" pitchFamily="2" charset="0"/>
                <a:cs typeface="Arial" panose="020B0604020202020204"/>
                <a:sym typeface="Arial" panose="020B0604020202020204"/>
              </a:rPr>
              <a:t>Foreign language: German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Inter" panose="02000503000000020004"/>
                <a:ea typeface="Inter" panose="02000503000000020004" pitchFamily="2" charset="0"/>
                <a:cs typeface="Arial" panose="020B0604020202020204"/>
                <a:sym typeface="Arial" panose="020B0604020202020204"/>
              </a:rPr>
              <a:t>, French, Spanish, Chinese, Korean or Japanese from 1st year</a:t>
            </a:r>
            <a:endParaRPr kumimoji="0" lang="ru-RU" sz="160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Arial" panose="020B0604020202020204"/>
              <a:sym typeface="Arial" panose="020B0604020202020204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2">
            <a:extLst>
              <a:ext uri="{FF2B5EF4-FFF2-40B4-BE49-F238E27FC236}">
                <a16:creationId xmlns:a16="http://schemas.microsoft.com/office/drawing/2014/main" id="{955F9234-F987-0164-97F2-A0C5A45655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457200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t>5</a:t>
            </a:fld>
            <a:endParaRPr lang="ru-RU" sz="1000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7DAAF43F-234C-0EB6-D1B9-DD62ABBBD3BF}"/>
              </a:ext>
            </a:extLst>
          </p:cNvPr>
          <p:cNvSpPr txBox="1"/>
          <p:nvPr/>
        </p:nvSpPr>
        <p:spPr>
          <a:xfrm>
            <a:off x="546039" y="150131"/>
            <a:ext cx="7315200" cy="5724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20430"/>
              </a:buClr>
              <a:buSzPts val="3000"/>
              <a:buFont typeface="Arial" panose="020B0604020202020204"/>
              <a:buNone/>
              <a:defRPr sz="3000" b="1" i="0" u="none" strike="noStrike" cap="none">
                <a:solidFill>
                  <a:srgbClr val="C20430"/>
                </a:solidFill>
                <a:latin typeface="+mj-lt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aleway"/>
              <a:buNone/>
              <a:defRPr sz="30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aleway"/>
              <a:buNone/>
              <a:defRPr sz="30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aleway"/>
              <a:buNone/>
              <a:defRPr sz="30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aleway"/>
              <a:buNone/>
              <a:defRPr sz="30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aleway"/>
              <a:buNone/>
              <a:defRPr sz="30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aleway"/>
              <a:buNone/>
              <a:defRPr sz="30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aleway"/>
              <a:buNone/>
              <a:defRPr sz="30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Raleway"/>
              <a:buNone/>
              <a:defRPr sz="3000" b="1" i="0" u="none" strike="noStrike" cap="none">
                <a:solidFill>
                  <a:schemeClr val="dk2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lvl="0">
              <a:defRPr/>
            </a:pPr>
            <a:r>
              <a:rPr lang="ru-RU" sz="2400" kern="0" dirty="0">
                <a:solidFill>
                  <a:srgbClr val="C00000"/>
                </a:solidFill>
                <a:latin typeface="Inter" panose="02000503000000020004" pitchFamily="2" charset="0"/>
                <a:ea typeface="Inter" panose="02000503000000020004" pitchFamily="2" charset="0"/>
              </a:rPr>
              <a:t>ДИСЦИПЛИНЫ ПО ВЫБОРУ</a:t>
            </a:r>
            <a:endParaRPr kumimoji="0" lang="ru-RU" sz="240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sym typeface="Arial" panose="020B0604020202020204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CAF49D60-1B1E-318E-F0DA-C28B658D33AE}"/>
              </a:ext>
            </a:extLst>
          </p:cNvPr>
          <p:cNvSpPr/>
          <p:nvPr/>
        </p:nvSpPr>
        <p:spPr>
          <a:xfrm>
            <a:off x="6149069" y="3311000"/>
            <a:ext cx="4956313" cy="941240"/>
          </a:xfrm>
          <a:prstGeom prst="roundRect">
            <a:avLst>
              <a:gd name="adj" fmla="val 5439"/>
            </a:avLst>
          </a:prstGeom>
          <a:solidFill>
            <a:srgbClr val="E9ECEF"/>
          </a:solidFill>
          <a:ln w="25400" cap="flat" cmpd="sng" algn="ctr">
            <a:noFill/>
            <a:prstDash val="solid"/>
          </a:ln>
          <a:effectLst/>
        </p:spPr>
        <p:txBody>
          <a:bodyPr lIns="324000" rtlCol="0" anchor="ctr"/>
          <a:lstStyle/>
          <a:p>
            <a:r>
              <a:rPr lang="ru-RU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Летние и зимние школы по финансам</a:t>
            </a:r>
            <a:endParaRPr lang="en-GB" dirty="0">
              <a:solidFill>
                <a:schemeClr val="bg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6" name="Freeform: Shape 43">
            <a:extLst>
              <a:ext uri="{FF2B5EF4-FFF2-40B4-BE49-F238E27FC236}">
                <a16:creationId xmlns:a16="http://schemas.microsoft.com/office/drawing/2014/main" id="{AFA317A8-3CD2-EDA2-05A7-4D7D2A81F058}"/>
              </a:ext>
            </a:extLst>
          </p:cNvPr>
          <p:cNvSpPr/>
          <p:nvPr/>
        </p:nvSpPr>
        <p:spPr>
          <a:xfrm>
            <a:off x="965140" y="3012605"/>
            <a:ext cx="4814337" cy="3470284"/>
          </a:xfrm>
          <a:custGeom>
            <a:avLst/>
            <a:gdLst>
              <a:gd name="connsiteX0" fmla="*/ 58322 w 5001012"/>
              <a:gd name="connsiteY0" fmla="*/ 0 h 4304219"/>
              <a:gd name="connsiteX1" fmla="*/ 5001012 w 5001012"/>
              <a:gd name="connsiteY1" fmla="*/ 0 h 4304219"/>
              <a:gd name="connsiteX2" fmla="*/ 5001012 w 5001012"/>
              <a:gd name="connsiteY2" fmla="*/ 4304219 h 4304219"/>
              <a:gd name="connsiteX3" fmla="*/ 58322 w 5001012"/>
              <a:gd name="connsiteY3" fmla="*/ 4304219 h 4304219"/>
              <a:gd name="connsiteX4" fmla="*/ 0 w 5001012"/>
              <a:gd name="connsiteY4" fmla="*/ 4245897 h 4304219"/>
              <a:gd name="connsiteX5" fmla="*/ 0 w 5001012"/>
              <a:gd name="connsiteY5" fmla="*/ 58322 h 4304219"/>
              <a:gd name="connsiteX6" fmla="*/ 58322 w 5001012"/>
              <a:gd name="connsiteY6" fmla="*/ 0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1012" h="4304219">
                <a:moveTo>
                  <a:pt x="58322" y="0"/>
                </a:moveTo>
                <a:lnTo>
                  <a:pt x="5001012" y="0"/>
                </a:lnTo>
                <a:lnTo>
                  <a:pt x="5001012" y="4304219"/>
                </a:lnTo>
                <a:lnTo>
                  <a:pt x="58322" y="4304219"/>
                </a:lnTo>
                <a:cubicBezTo>
                  <a:pt x="26112" y="4304219"/>
                  <a:pt x="0" y="4278107"/>
                  <a:pt x="0" y="4245897"/>
                </a:cubicBezTo>
                <a:lnTo>
                  <a:pt x="0" y="58322"/>
                </a:lnTo>
                <a:cubicBezTo>
                  <a:pt x="0" y="26112"/>
                  <a:pt x="26112" y="0"/>
                  <a:pt x="5832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1442" rIns="72000" bIns="71442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ru-RU" sz="900" dirty="0">
              <a:solidFill>
                <a:srgbClr val="BE1E2D"/>
              </a:solidFill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7" name="Rounded Rectangle 76">
            <a:extLst>
              <a:ext uri="{FF2B5EF4-FFF2-40B4-BE49-F238E27FC236}">
                <a16:creationId xmlns:a16="http://schemas.microsoft.com/office/drawing/2014/main" id="{C0561100-BD22-C5D0-82EB-AB6E6AE5A60C}"/>
              </a:ext>
            </a:extLst>
          </p:cNvPr>
          <p:cNvSpPr/>
          <p:nvPr/>
        </p:nvSpPr>
        <p:spPr>
          <a:xfrm>
            <a:off x="965139" y="2558262"/>
            <a:ext cx="4814337" cy="793978"/>
          </a:xfrm>
          <a:prstGeom prst="roundRect">
            <a:avLst>
              <a:gd name="adj" fmla="val 6951"/>
            </a:avLst>
          </a:prstGeom>
          <a:solidFill>
            <a:schemeClr val="bg2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Ins="72000" bIns="0" rtlCol="0" anchor="ctr" anchorCtr="0">
            <a:noAutofit/>
          </a:bodyPr>
          <a:lstStyle/>
          <a:p>
            <a:pPr>
              <a:buSzPct val="100000"/>
            </a:pPr>
            <a:endParaRPr lang="en-US" sz="1200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5" name="Rounded Rectangle 76">
            <a:extLst>
              <a:ext uri="{FF2B5EF4-FFF2-40B4-BE49-F238E27FC236}">
                <a16:creationId xmlns:a16="http://schemas.microsoft.com/office/drawing/2014/main" id="{3456801B-30CC-0644-9E05-652CF4D5328C}"/>
              </a:ext>
            </a:extLst>
          </p:cNvPr>
          <p:cNvSpPr/>
          <p:nvPr/>
        </p:nvSpPr>
        <p:spPr>
          <a:xfrm>
            <a:off x="6149069" y="2558262"/>
            <a:ext cx="4956313" cy="799301"/>
          </a:xfrm>
          <a:prstGeom prst="roundRect">
            <a:avLst>
              <a:gd name="adj" fmla="val 6951"/>
            </a:avLst>
          </a:prstGeom>
          <a:solidFill>
            <a:schemeClr val="bg2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Ins="72000" bIns="0" rtlCol="0" anchor="ctr" anchorCtr="0">
            <a:noAutofit/>
          </a:bodyPr>
          <a:lstStyle/>
          <a:p>
            <a:pPr>
              <a:buSzPct val="100000"/>
            </a:pPr>
            <a:endParaRPr lang="en-US" sz="1200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76E5756-C05B-7A59-196E-D31CE5CD9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6E5756-C05B-7A59-196E-D31CE5CD9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ABF95B-9E3F-D280-093E-429A176BD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5957" y="308167"/>
            <a:ext cx="10088701" cy="997196"/>
          </a:xfrm>
        </p:spPr>
        <p:txBody>
          <a:bodyPr vert="horz"/>
          <a:lstStyle/>
          <a:p>
            <a:r>
              <a:rPr lang="ru-RU" b="1" dirty="0">
                <a:latin typeface="Inter" panose="02000503000000020004" pitchFamily="2" charset="0"/>
                <a:ea typeface="Inter" panose="02000503000000020004" pitchFamily="2" charset="0"/>
              </a:rPr>
              <a:t>Специальный трек по финансам</a:t>
            </a:r>
            <a:br>
              <a:rPr lang="ru-RU" b="1" dirty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b="1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международные стандарты </a:t>
            </a:r>
            <a:br>
              <a:rPr lang="en-US" b="1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b="1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финансовой отчетности</a:t>
            </a:r>
            <a:endParaRPr lang="en-RU" b="1" dirty="0">
              <a:solidFill>
                <a:schemeClr val="bg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7CBF95-5867-BF38-E1CE-6ABA5BAC96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AA8A74-8566-41AB-BE36-77E5736D8C67}" type="slidenum">
              <a:rPr lang="ru-RU" smtClean="0">
                <a:latin typeface="Inter" panose="02000503000000020004" pitchFamily="2" charset="0"/>
                <a:ea typeface="Inter" panose="02000503000000020004" pitchFamily="2" charset="0"/>
              </a:rPr>
              <a:pPr/>
              <a:t>6</a:t>
            </a:fld>
            <a:endParaRPr lang="ru-RU" sz="100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F74D0F9-B370-CB20-4D0F-22AE453DFA21}"/>
              </a:ext>
            </a:extLst>
          </p:cNvPr>
          <p:cNvSpPr txBox="1"/>
          <p:nvPr/>
        </p:nvSpPr>
        <p:spPr>
          <a:xfrm>
            <a:off x="1684420" y="3727159"/>
            <a:ext cx="4025888" cy="64633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en-GB" kern="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International Financial Reporting</a:t>
            </a:r>
            <a:br>
              <a:rPr lang="en-GB" kern="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</a:br>
            <a:r>
              <a:rPr lang="en-GB" kern="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Standards (IFRS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6ACBD55-17AE-5206-D2AA-B0D9D052FFDC}"/>
              </a:ext>
            </a:extLst>
          </p:cNvPr>
          <p:cNvSpPr txBox="1"/>
          <p:nvPr/>
        </p:nvSpPr>
        <p:spPr>
          <a:xfrm>
            <a:off x="1684420" y="5152898"/>
            <a:ext cx="3252126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en-US" kern="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Corporate Valuation</a:t>
            </a:r>
            <a:endParaRPr lang="en-GB" kern="0" dirty="0">
              <a:solidFill>
                <a:schemeClr val="bg2"/>
              </a:solidFill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6B29D62-B7B4-901C-E351-250FBF8CFABF}"/>
              </a:ext>
            </a:extLst>
          </p:cNvPr>
          <p:cNvSpPr txBox="1"/>
          <p:nvPr/>
        </p:nvSpPr>
        <p:spPr>
          <a:xfrm>
            <a:off x="1684420" y="5727267"/>
            <a:ext cx="3252126" cy="369332"/>
          </a:xfrm>
          <a:prstGeom prst="rect">
            <a:avLst/>
          </a:prstGeom>
          <a:noFill/>
        </p:spPr>
        <p:txBody>
          <a:bodyPr wrap="square" lIns="0" tIns="45720" rIns="0" bIns="45720" anchor="t">
            <a:spAutoFit/>
          </a:bodyPr>
          <a:lstStyle/>
          <a:p>
            <a:r>
              <a:rPr lang="ru-RU" kern="0" dirty="0" err="1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Audit</a:t>
            </a:r>
            <a:r>
              <a:rPr lang="ru-RU" kern="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and</a:t>
            </a:r>
            <a:r>
              <a:rPr lang="ru-RU" kern="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 </a:t>
            </a:r>
            <a:r>
              <a:rPr lang="en-US" kern="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Assurance</a:t>
            </a:r>
            <a:endParaRPr lang="en-GB" kern="0" dirty="0">
              <a:solidFill>
                <a:schemeClr val="bg2"/>
              </a:solidFill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AA117FA-1A55-2147-4F9B-5740E1F1754A}"/>
              </a:ext>
            </a:extLst>
          </p:cNvPr>
          <p:cNvSpPr txBox="1"/>
          <p:nvPr/>
        </p:nvSpPr>
        <p:spPr>
          <a:xfrm>
            <a:off x="1684420" y="4578528"/>
            <a:ext cx="3252126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en-GB" kern="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Tax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96A87B1-610F-430F-6181-33E5C5C189D1}"/>
              </a:ext>
            </a:extLst>
          </p:cNvPr>
          <p:cNvSpPr txBox="1"/>
          <p:nvPr/>
        </p:nvSpPr>
        <p:spPr>
          <a:xfrm>
            <a:off x="1690679" y="1722456"/>
            <a:ext cx="4192770" cy="4001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ru-RU" sz="2000" dirty="0">
                <a:solidFill>
                  <a:schemeClr val="bg2"/>
                </a:solidFill>
                <a:effectLst/>
                <a:latin typeface="Inter" panose="02000503000000020004" pitchFamily="2" charset="0"/>
                <a:ea typeface="Inter" panose="02000503000000020004" pitchFamily="2" charset="0"/>
                <a:cs typeface="Times New Roman" panose="02020603050405020304" pitchFamily="18" charset="0"/>
              </a:rPr>
              <a:t>Корпоративные партнеры трека</a:t>
            </a:r>
            <a:endParaRPr lang="en-GB" sz="2000" dirty="0">
              <a:solidFill>
                <a:schemeClr val="bg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3711B818-B508-1189-9F20-609D4F12F9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649" y="1646684"/>
            <a:ext cx="1673915" cy="432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8347CF0F-4D48-4D88-58BB-A75E6A2163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069" y="1616179"/>
            <a:ext cx="1376828" cy="493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AF27EE67-0E48-2406-299A-AF7202F8720A}"/>
              </a:ext>
            </a:extLst>
          </p:cNvPr>
          <p:cNvSpPr txBox="1"/>
          <p:nvPr/>
        </p:nvSpPr>
        <p:spPr>
          <a:xfrm>
            <a:off x="1684420" y="2668388"/>
            <a:ext cx="3801980" cy="584775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Times New Roman" panose="02020603050405020304" pitchFamily="18" charset="0"/>
              </a:rPr>
              <a:t>Специализированные </a:t>
            </a:r>
            <a:br>
              <a:rPr lang="en-US" sz="16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Times New Roman" panose="02020603050405020304" pitchFamily="18" charset="0"/>
              </a:rPr>
            </a:br>
            <a:r>
              <a:rPr lang="ru-RU" sz="16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Times New Roman" panose="02020603050405020304" pitchFamily="18" charset="0"/>
              </a:rPr>
              <a:t>дисциплины</a:t>
            </a:r>
            <a:r>
              <a:rPr lang="en-US" sz="16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Times New Roman" panose="02020603050405020304" pitchFamily="18" charset="0"/>
              </a:rPr>
              <a:t>по выбору</a:t>
            </a:r>
            <a:endParaRPr lang="en-GB" sz="1600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  <a:cs typeface="Times New Roman" panose="02020603050405020304" pitchFamily="18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B84BE4C-538A-FDD2-5918-88B5C5F116C0}"/>
              </a:ext>
            </a:extLst>
          </p:cNvPr>
          <p:cNvSpPr txBox="1"/>
          <p:nvPr/>
        </p:nvSpPr>
        <p:spPr>
          <a:xfrm>
            <a:off x="6498755" y="2749965"/>
            <a:ext cx="4229637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Times New Roman" panose="02020603050405020304" pitchFamily="18" charset="0"/>
              </a:rPr>
              <a:t>Дополнительные преимущества</a:t>
            </a:r>
            <a:endParaRPr lang="en-GB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7E2697D2-721D-4865-1F87-0B3895342EB6}"/>
              </a:ext>
            </a:extLst>
          </p:cNvPr>
          <p:cNvSpPr/>
          <p:nvPr/>
        </p:nvSpPr>
        <p:spPr>
          <a:xfrm>
            <a:off x="6149069" y="4464502"/>
            <a:ext cx="4956313" cy="900000"/>
          </a:xfrm>
          <a:prstGeom prst="roundRect">
            <a:avLst>
              <a:gd name="adj" fmla="val 6330"/>
            </a:avLst>
          </a:prstGeom>
          <a:solidFill>
            <a:srgbClr val="E9ECEF"/>
          </a:solidFill>
          <a:ln w="25400" cap="flat" cmpd="sng" algn="ctr">
            <a:noFill/>
            <a:prstDash val="solid"/>
          </a:ln>
          <a:effectLst/>
        </p:spPr>
        <p:txBody>
          <a:bodyPr lIns="324000" rtlCol="0" anchor="ctr"/>
          <a:lstStyle/>
          <a:p>
            <a:r>
              <a:rPr lang="en-US" sz="160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Fast-track </a:t>
            </a:r>
            <a:r>
              <a:rPr lang="ru-RU" sz="160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на программы стажировок </a:t>
            </a:r>
            <a:br>
              <a:rPr lang="ru-RU" sz="160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sz="160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компаний-партнеров</a:t>
            </a:r>
            <a:endParaRPr lang="en-GB" sz="1600" dirty="0">
              <a:solidFill>
                <a:schemeClr val="bg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83C2C933-07C2-3194-908C-180E470E0E9D}"/>
              </a:ext>
            </a:extLst>
          </p:cNvPr>
          <p:cNvSpPr/>
          <p:nvPr/>
        </p:nvSpPr>
        <p:spPr>
          <a:xfrm>
            <a:off x="6149069" y="5576765"/>
            <a:ext cx="4956313" cy="900000"/>
          </a:xfrm>
          <a:prstGeom prst="roundRect">
            <a:avLst>
              <a:gd name="adj" fmla="val 6330"/>
            </a:avLst>
          </a:prstGeom>
          <a:solidFill>
            <a:srgbClr val="E9ECEF"/>
          </a:solidFill>
          <a:ln w="25400" cap="flat" cmpd="sng" algn="ctr">
            <a:noFill/>
            <a:prstDash val="solid"/>
          </a:ln>
          <a:effectLst/>
        </p:spPr>
        <p:txBody>
          <a:bodyPr lIns="324000" tIns="45720" rIns="91440" bIns="45720" rtlCol="0" anchor="ctr"/>
          <a:lstStyle/>
          <a:p>
            <a:r>
              <a:rPr lang="ru-RU" sz="160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Воркшопы и мастер-классы </a:t>
            </a:r>
            <a:br>
              <a:rPr lang="ru-RU" sz="160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sz="160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от приглашенных экспертов</a:t>
            </a:r>
            <a:br>
              <a:rPr lang="en-US" sz="160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sz="160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финансовой отрасли</a:t>
            </a:r>
            <a:endParaRPr lang="en-GB" sz="1600" dirty="0">
              <a:solidFill>
                <a:schemeClr val="bg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9" name="Chevron 42">
            <a:extLst>
              <a:ext uri="{FF2B5EF4-FFF2-40B4-BE49-F238E27FC236}">
                <a16:creationId xmlns:a16="http://schemas.microsoft.com/office/drawing/2014/main" id="{B04AD9A4-8C28-9ED8-834E-50D8557DA58C}"/>
              </a:ext>
            </a:extLst>
          </p:cNvPr>
          <p:cNvSpPr/>
          <p:nvPr/>
        </p:nvSpPr>
        <p:spPr>
          <a:xfrm>
            <a:off x="1203133" y="3826600"/>
            <a:ext cx="198781" cy="461665"/>
          </a:xfrm>
          <a:prstGeom prst="chevron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GB">
              <a:solidFill>
                <a:schemeClr val="accent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0" name="Chevron 45">
            <a:extLst>
              <a:ext uri="{FF2B5EF4-FFF2-40B4-BE49-F238E27FC236}">
                <a16:creationId xmlns:a16="http://schemas.microsoft.com/office/drawing/2014/main" id="{591ACB63-59BF-B934-7C66-8E495FCB56F9}"/>
              </a:ext>
            </a:extLst>
          </p:cNvPr>
          <p:cNvSpPr/>
          <p:nvPr/>
        </p:nvSpPr>
        <p:spPr>
          <a:xfrm>
            <a:off x="1203133" y="4494913"/>
            <a:ext cx="198781" cy="461665"/>
          </a:xfrm>
          <a:prstGeom prst="chevron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GB">
              <a:solidFill>
                <a:schemeClr val="accent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1" name="Chevron 46">
            <a:extLst>
              <a:ext uri="{FF2B5EF4-FFF2-40B4-BE49-F238E27FC236}">
                <a16:creationId xmlns:a16="http://schemas.microsoft.com/office/drawing/2014/main" id="{FA7B048C-BD66-4882-8150-6AA21598E572}"/>
              </a:ext>
            </a:extLst>
          </p:cNvPr>
          <p:cNvSpPr/>
          <p:nvPr/>
        </p:nvSpPr>
        <p:spPr>
          <a:xfrm>
            <a:off x="1203133" y="5115100"/>
            <a:ext cx="198781" cy="461665"/>
          </a:xfrm>
          <a:prstGeom prst="chevron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GB">
              <a:solidFill>
                <a:schemeClr val="accent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2" name="Chevron 47">
            <a:extLst>
              <a:ext uri="{FF2B5EF4-FFF2-40B4-BE49-F238E27FC236}">
                <a16:creationId xmlns:a16="http://schemas.microsoft.com/office/drawing/2014/main" id="{F4A78972-2E16-B787-D4B1-EA5FB1231EE8}"/>
              </a:ext>
            </a:extLst>
          </p:cNvPr>
          <p:cNvSpPr/>
          <p:nvPr/>
        </p:nvSpPr>
        <p:spPr>
          <a:xfrm>
            <a:off x="1203133" y="5719246"/>
            <a:ext cx="198781" cy="461665"/>
          </a:xfrm>
          <a:prstGeom prst="chevron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GB">
              <a:solidFill>
                <a:schemeClr val="accent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804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76">
            <a:extLst>
              <a:ext uri="{FF2B5EF4-FFF2-40B4-BE49-F238E27FC236}">
                <a16:creationId xmlns:a16="http://schemas.microsoft.com/office/drawing/2014/main" id="{CF3CA64A-3E76-4EFD-95B7-34FC0CFE615C}"/>
              </a:ext>
            </a:extLst>
          </p:cNvPr>
          <p:cNvSpPr/>
          <p:nvPr/>
        </p:nvSpPr>
        <p:spPr>
          <a:xfrm>
            <a:off x="1092200" y="1413065"/>
            <a:ext cx="2271209" cy="5052574"/>
          </a:xfrm>
          <a:prstGeom prst="roundRect">
            <a:avLst>
              <a:gd name="adj" fmla="val 1502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</a:pPr>
            <a:endParaRPr lang="ru-RU" sz="1600">
              <a:solidFill>
                <a:schemeClr val="bg2"/>
              </a:solidFill>
              <a:sym typeface="+mn-lt"/>
            </a:endParaRPr>
          </a:p>
        </p:txBody>
      </p:sp>
      <p:sp>
        <p:nvSpPr>
          <p:cNvPr id="24" name="Rounded Rectangle 76">
            <a:extLst>
              <a:ext uri="{FF2B5EF4-FFF2-40B4-BE49-F238E27FC236}">
                <a16:creationId xmlns:a16="http://schemas.microsoft.com/office/drawing/2014/main" id="{3A75030B-41D8-4F23-8743-6F3FFA223CF5}"/>
              </a:ext>
            </a:extLst>
          </p:cNvPr>
          <p:cNvSpPr/>
          <p:nvPr/>
        </p:nvSpPr>
        <p:spPr>
          <a:xfrm>
            <a:off x="1092200" y="1413065"/>
            <a:ext cx="2271209" cy="565965"/>
          </a:xfrm>
          <a:prstGeom prst="roundRect">
            <a:avLst>
              <a:gd name="adj" fmla="val 6951"/>
            </a:avLst>
          </a:prstGeom>
          <a:solidFill>
            <a:schemeClr val="accent1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Ins="72000" bIns="0" rtlCol="0" anchor="ctr" anchorCtr="0">
            <a:noAutofit/>
          </a:bodyPr>
          <a:lstStyle/>
          <a:p>
            <a:pPr>
              <a:buSzPct val="100000"/>
            </a:pPr>
            <a:r>
              <a:rPr lang="ru-RU" sz="12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</a:rPr>
              <a:t>Иностранные языки</a:t>
            </a:r>
          </a:p>
        </p:txBody>
      </p:sp>
      <p:pic>
        <p:nvPicPr>
          <p:cNvPr id="29" name="Graphic 8">
            <a:extLst>
              <a:ext uri="{FF2B5EF4-FFF2-40B4-BE49-F238E27FC236}">
                <a16:creationId xmlns:a16="http://schemas.microsoft.com/office/drawing/2014/main" id="{FE1AFBD3-FA67-4ACB-9387-12176C1D487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215661" y="1548132"/>
            <a:ext cx="292749" cy="295831"/>
          </a:xfrm>
          <a:prstGeom prst="rect">
            <a:avLst/>
          </a:prstGeom>
        </p:spPr>
      </p:pic>
      <p:sp>
        <p:nvSpPr>
          <p:cNvPr id="30" name="Rounded Rectangle 76">
            <a:extLst>
              <a:ext uri="{FF2B5EF4-FFF2-40B4-BE49-F238E27FC236}">
                <a16:creationId xmlns:a16="http://schemas.microsoft.com/office/drawing/2014/main" id="{D16A0304-FC7A-463F-B4C3-BC65756A011A}"/>
              </a:ext>
            </a:extLst>
          </p:cNvPr>
          <p:cNvSpPr/>
          <p:nvPr/>
        </p:nvSpPr>
        <p:spPr>
          <a:xfrm>
            <a:off x="3671654" y="1413065"/>
            <a:ext cx="2271209" cy="5052574"/>
          </a:xfrm>
          <a:prstGeom prst="roundRect">
            <a:avLst>
              <a:gd name="adj" fmla="val 1502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</a:pPr>
            <a:endParaRPr lang="ru-RU" sz="1600">
              <a:solidFill>
                <a:schemeClr val="bg2"/>
              </a:solidFill>
              <a:sym typeface="+mn-lt"/>
            </a:endParaRPr>
          </a:p>
        </p:txBody>
      </p:sp>
      <p:sp>
        <p:nvSpPr>
          <p:cNvPr id="31" name="Rounded Rectangle 76">
            <a:extLst>
              <a:ext uri="{FF2B5EF4-FFF2-40B4-BE49-F238E27FC236}">
                <a16:creationId xmlns:a16="http://schemas.microsoft.com/office/drawing/2014/main" id="{C859BBAC-8024-49FB-B3A4-DB9735B25BE0}"/>
              </a:ext>
            </a:extLst>
          </p:cNvPr>
          <p:cNvSpPr/>
          <p:nvPr/>
        </p:nvSpPr>
        <p:spPr>
          <a:xfrm>
            <a:off x="3671654" y="1413065"/>
            <a:ext cx="2271209" cy="565965"/>
          </a:xfrm>
          <a:prstGeom prst="roundRect">
            <a:avLst>
              <a:gd name="adj" fmla="val 6951"/>
            </a:avLst>
          </a:prstGeom>
          <a:solidFill>
            <a:schemeClr val="accent1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Ins="72000" bIns="0" rtlCol="0" anchor="ctr" anchorCtr="0">
            <a:noAutofit/>
          </a:bodyPr>
          <a:lstStyle/>
          <a:p>
            <a:pPr>
              <a:buSzPct val="100000"/>
            </a:pPr>
            <a:r>
              <a:rPr lang="ru-RU" sz="12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</a:rPr>
              <a:t>Много практики</a:t>
            </a:r>
            <a:endParaRPr lang="en-US" sz="1200" dirty="0">
              <a:solidFill>
                <a:schemeClr val="bg1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38" name="Graphic 8">
            <a:extLst>
              <a:ext uri="{FF2B5EF4-FFF2-40B4-BE49-F238E27FC236}">
                <a16:creationId xmlns:a16="http://schemas.microsoft.com/office/drawing/2014/main" id="{BE1DCA1D-F635-43CA-B37B-405039A78D5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793574" y="1594270"/>
            <a:ext cx="295832" cy="203554"/>
          </a:xfrm>
          <a:prstGeom prst="rect">
            <a:avLst/>
          </a:prstGeom>
        </p:spPr>
      </p:pic>
      <p:sp>
        <p:nvSpPr>
          <p:cNvPr id="33" name="Rounded Rectangle 76">
            <a:extLst>
              <a:ext uri="{FF2B5EF4-FFF2-40B4-BE49-F238E27FC236}">
                <a16:creationId xmlns:a16="http://schemas.microsoft.com/office/drawing/2014/main" id="{CB8BAD95-6983-45D7-8AF0-5D7E62D80B76}"/>
              </a:ext>
            </a:extLst>
          </p:cNvPr>
          <p:cNvSpPr/>
          <p:nvPr/>
        </p:nvSpPr>
        <p:spPr>
          <a:xfrm>
            <a:off x="6252929" y="1413065"/>
            <a:ext cx="2271209" cy="5052574"/>
          </a:xfrm>
          <a:prstGeom prst="roundRect">
            <a:avLst>
              <a:gd name="adj" fmla="val 1502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</a:pPr>
            <a:endParaRPr lang="ru-RU" sz="1600">
              <a:solidFill>
                <a:schemeClr val="bg2"/>
              </a:solidFill>
              <a:sym typeface="+mn-lt"/>
            </a:endParaRPr>
          </a:p>
        </p:txBody>
      </p:sp>
      <p:sp>
        <p:nvSpPr>
          <p:cNvPr id="34" name="Rounded Rectangle 76">
            <a:extLst>
              <a:ext uri="{FF2B5EF4-FFF2-40B4-BE49-F238E27FC236}">
                <a16:creationId xmlns:a16="http://schemas.microsoft.com/office/drawing/2014/main" id="{4AB955D8-F0C7-4DEC-9BBE-4BC9B00A2E9C}"/>
              </a:ext>
            </a:extLst>
          </p:cNvPr>
          <p:cNvSpPr/>
          <p:nvPr/>
        </p:nvSpPr>
        <p:spPr>
          <a:xfrm>
            <a:off x="6252929" y="1413065"/>
            <a:ext cx="2271209" cy="565965"/>
          </a:xfrm>
          <a:prstGeom prst="roundRect">
            <a:avLst>
              <a:gd name="adj" fmla="val 6951"/>
            </a:avLst>
          </a:prstGeom>
          <a:solidFill>
            <a:schemeClr val="accent1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Ins="72000" bIns="0" rtlCol="0" anchor="ctr" anchorCtr="0">
            <a:noAutofit/>
          </a:bodyPr>
          <a:lstStyle/>
          <a:p>
            <a:pPr>
              <a:buSzPct val="100000"/>
            </a:pPr>
            <a:r>
              <a:rPr lang="ru-RU" sz="120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</a:rPr>
              <a:t>Дисциплины по выбору</a:t>
            </a:r>
          </a:p>
        </p:txBody>
      </p:sp>
      <p:pic>
        <p:nvPicPr>
          <p:cNvPr id="41" name="Graphic 8">
            <a:extLst>
              <a:ext uri="{FF2B5EF4-FFF2-40B4-BE49-F238E27FC236}">
                <a16:creationId xmlns:a16="http://schemas.microsoft.com/office/drawing/2014/main" id="{3BDBADF0-5482-4591-9510-9E62092BA36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374849" y="1548132"/>
            <a:ext cx="295832" cy="295831"/>
          </a:xfrm>
          <a:prstGeom prst="rect">
            <a:avLst/>
          </a:prstGeom>
        </p:spPr>
      </p:pic>
      <p:sp>
        <p:nvSpPr>
          <p:cNvPr id="17" name="Title 16">
            <a:extLst>
              <a:ext uri="{FF2B5EF4-FFF2-40B4-BE49-F238E27FC236}">
                <a16:creationId xmlns:a16="http://schemas.microsoft.com/office/drawing/2014/main" id="{AAE4FB76-9A3E-48AA-BCE8-A58207A04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09"/>
            <a:ext cx="11454418" cy="955646"/>
          </a:xfrm>
        </p:spPr>
        <p:txBody>
          <a:bodyPr/>
          <a:lstStyle/>
          <a:p>
            <a:r>
              <a:rPr lang="ru-RU" sz="2300" b="1" dirty="0">
                <a:solidFill>
                  <a:srgbClr val="C00000"/>
                </a:solidFill>
                <a:latin typeface="Inter" panose="02000503000000020004" pitchFamily="2" charset="0"/>
                <a:ea typeface="Inter" panose="02000503000000020004" pitchFamily="2" charset="0"/>
              </a:rPr>
              <a:t>Преимущества ВШМ СПбГУ </a:t>
            </a:r>
            <a:r>
              <a:rPr lang="ru-RU" sz="2300" b="1" dirty="0">
                <a:latin typeface="Inter" panose="02000503000000020004" pitchFamily="2" charset="0"/>
                <a:ea typeface="Inter" panose="02000503000000020004" pitchFamily="2" charset="0"/>
              </a:rPr>
              <a:t>– это практика,</a:t>
            </a:r>
            <a:br>
              <a:rPr lang="ru-RU" sz="2300" b="1" dirty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sz="2300" b="1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иностранные языки и уникальные </a:t>
            </a:r>
            <a:br>
              <a:rPr lang="en-US" sz="2300" b="1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sz="2300" b="1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образовательные возможности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0124B3-526E-48A0-9F99-7750B580DF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AA8A74-8566-41AB-BE36-77E5736D8C67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AD0D51-E9C9-4537-BE58-EB3CDDBE81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44" name="Table 6">
            <a:extLst>
              <a:ext uri="{FF2B5EF4-FFF2-40B4-BE49-F238E27FC236}">
                <a16:creationId xmlns:a16="http://schemas.microsoft.com/office/drawing/2014/main" id="{365B41A3-3F48-47BA-A895-8526E5E025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4036644"/>
              </p:ext>
            </p:extLst>
          </p:nvPr>
        </p:nvGraphicFramePr>
        <p:xfrm>
          <a:off x="1092200" y="1979029"/>
          <a:ext cx="2271209" cy="20230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71209">
                  <a:extLst>
                    <a:ext uri="{9D8B030D-6E8A-4147-A177-3AD203B41FA5}">
                      <a16:colId xmlns:a16="http://schemas.microsoft.com/office/drawing/2014/main" val="3599022634"/>
                    </a:ext>
                  </a:extLst>
                </a:gridCol>
              </a:tblGrid>
              <a:tr h="90135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ru-RU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Inter" panose="02000503000000020004" pitchFamily="2" charset="0"/>
                          <a:ea typeface="Inter" panose="02000503000000020004" pitchFamily="2" charset="0"/>
                          <a:cs typeface="+mn-cs"/>
                          <a:sym typeface="Arial"/>
                        </a:rPr>
                        <a:t>Продолжишь совершенствовать </a:t>
                      </a:r>
                      <a:r>
                        <a:rPr lang="ru-RU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Inter" panose="02000503000000020004" pitchFamily="2" charset="0"/>
                          <a:ea typeface="Inter" panose="02000503000000020004" pitchFamily="2" charset="0"/>
                          <a:cs typeface="+mn-cs"/>
                        </a:rPr>
                        <a:t>свой</a:t>
                      </a:r>
                      <a:br>
                        <a:rPr kumimoji="0" lang="ru-RU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1626F"/>
                          </a:solidFill>
                          <a:effectLst/>
                          <a:uLnTx/>
                          <a:uFillTx/>
                          <a:latin typeface="Inter" panose="02000503000000020004" pitchFamily="2" charset="0"/>
                          <a:ea typeface="Inter" panose="02000503000000020004" pitchFamily="2" charset="0"/>
                          <a:cs typeface="+mn-cs"/>
                          <a:sym typeface="Arial"/>
                        </a:rPr>
                      </a:br>
                      <a:r>
                        <a:rPr kumimoji="0" lang="ru-RU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Inter" panose="02000503000000020004" pitchFamily="2" charset="0"/>
                          <a:ea typeface="Inter" panose="02000503000000020004" pitchFamily="2" charset="0"/>
                          <a:cs typeface="+mn-cs"/>
                          <a:sym typeface="Arial"/>
                        </a:rPr>
                        <a:t>английский</a:t>
                      </a:r>
                      <a:r>
                        <a:rPr lang="ru-RU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Inter" panose="02000503000000020004" pitchFamily="2" charset="0"/>
                          <a:ea typeface="Inter" panose="02000503000000020004" pitchFamily="2" charset="0"/>
                          <a:cs typeface="+mn-cs"/>
                        </a:rPr>
                        <a:t> </a:t>
                      </a: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Inter" panose="02000503000000020004" pitchFamily="2" charset="0"/>
                        <a:ea typeface="Inter" panose="02000503000000020004" pitchFamily="2" charset="0"/>
                        <a:cs typeface="+mn-cs"/>
                        <a:sym typeface="Arial"/>
                      </a:endParaRPr>
                    </a:p>
                  </a:txBody>
                  <a:tcPr marL="144000" marR="14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08318"/>
                  </a:ext>
                </a:extLst>
              </a:tr>
              <a:tr h="1121653">
                <a:tc>
                  <a:txBody>
                    <a:bodyPr/>
                    <a:lstStyle/>
                    <a:p>
                      <a:r>
                        <a:rPr kumimoji="0" lang="ru-RU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Inter" panose="02000503000000020004" pitchFamily="2" charset="0"/>
                          <a:ea typeface="Inter" panose="02000503000000020004" pitchFamily="2" charset="0"/>
                          <a:cs typeface="+mn-cs"/>
                        </a:rPr>
                        <a:t>Сможешь выбрать европейский или азиатский язык: французский,</a:t>
                      </a:r>
                      <a:br>
                        <a:rPr kumimoji="0" lang="ru-RU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1626F"/>
                          </a:solidFill>
                          <a:effectLst/>
                          <a:uLnTx/>
                          <a:uFillTx/>
                          <a:latin typeface="Inter" panose="02000503000000020004" pitchFamily="2" charset="0"/>
                          <a:ea typeface="Inter" panose="02000503000000020004" pitchFamily="2" charset="0"/>
                          <a:cs typeface="+mn-cs"/>
                        </a:rPr>
                      </a:br>
                      <a:r>
                        <a:rPr kumimoji="0" lang="ru-RU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uLnTx/>
                          <a:uFillTx/>
                          <a:latin typeface="Inter" panose="02000503000000020004" pitchFamily="2" charset="0"/>
                          <a:ea typeface="Inter" panose="02000503000000020004" pitchFamily="2" charset="0"/>
                          <a:cs typeface="+mn-cs"/>
                        </a:rPr>
                        <a:t>испанский, немецкий, китайский, японский или корейский</a:t>
                      </a: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uLnTx/>
                        <a:uFillTx/>
                        <a:latin typeface="Inter" panose="02000503000000020004" pitchFamily="2" charset="0"/>
                        <a:ea typeface="Inter" panose="02000503000000020004" pitchFamily="2" charset="0"/>
                        <a:cs typeface="+mn-cs"/>
                      </a:endParaRPr>
                    </a:p>
                  </a:txBody>
                  <a:tcPr marL="144000" marR="144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3052102"/>
                  </a:ext>
                </a:extLst>
              </a:tr>
            </a:tbl>
          </a:graphicData>
        </a:graphic>
      </p:graphicFrame>
      <p:graphicFrame>
        <p:nvGraphicFramePr>
          <p:cNvPr id="32" name="Table 6">
            <a:extLst>
              <a:ext uri="{FF2B5EF4-FFF2-40B4-BE49-F238E27FC236}">
                <a16:creationId xmlns:a16="http://schemas.microsoft.com/office/drawing/2014/main" id="{F0FF7E25-CA7D-4BA9-B61D-3657BF9846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166235"/>
              </p:ext>
            </p:extLst>
          </p:nvPr>
        </p:nvGraphicFramePr>
        <p:xfrm>
          <a:off x="3671654" y="1979029"/>
          <a:ext cx="2271209" cy="20230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71209">
                  <a:extLst>
                    <a:ext uri="{9D8B030D-6E8A-4147-A177-3AD203B41FA5}">
                      <a16:colId xmlns:a16="http://schemas.microsoft.com/office/drawing/2014/main" val="3599022634"/>
                    </a:ext>
                  </a:extLst>
                </a:gridCol>
              </a:tblGrid>
              <a:tr h="674335">
                <a:tc>
                  <a:txBody>
                    <a:bodyPr/>
                    <a:lstStyle/>
                    <a:p>
                      <a:pPr>
                        <a:buClr>
                          <a:srgbClr val="C00000"/>
                        </a:buClr>
                        <a:buFont typeface="Arial"/>
                        <a:buNone/>
                      </a:pPr>
                      <a:r>
                        <a:rPr lang="ru-RU" sz="1100" b="0" kern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  <a:cs typeface="Arial"/>
                          <a:sym typeface="Arial"/>
                        </a:rPr>
                        <a:t>Обязательные летние стажировки</a:t>
                      </a:r>
                    </a:p>
                  </a:txBody>
                  <a:tcPr marL="144000" marR="14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08318"/>
                  </a:ext>
                </a:extLst>
              </a:tr>
              <a:tr h="674335">
                <a:tc>
                  <a:txBody>
                    <a:bodyPr/>
                    <a:lstStyle/>
                    <a:p>
                      <a:pPr marL="0" indent="0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100" b="0" kern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  <a:cs typeface="Arial"/>
                          <a:sym typeface="Arial"/>
                        </a:rPr>
                        <a:t>Групповые курсовые проекты </a:t>
                      </a: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Inter" panose="02000503000000020004" pitchFamily="2" charset="0"/>
                        <a:ea typeface="Inter" panose="02000503000000020004" pitchFamily="2" charset="0"/>
                        <a:cs typeface="+mn-cs"/>
                      </a:endParaRPr>
                    </a:p>
                  </a:txBody>
                  <a:tcPr marL="144000" marR="144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3052102"/>
                  </a:ext>
                </a:extLst>
              </a:tr>
              <a:tr h="674335">
                <a:tc>
                  <a:txBody>
                    <a:bodyPr/>
                    <a:lstStyle/>
                    <a:p>
                      <a:pPr marL="0" indent="0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100" b="0" kern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  <a:cs typeface="Arial"/>
                          <a:sym typeface="Arial"/>
                        </a:rPr>
                        <a:t>Создание бизнес-плана для своей компании</a:t>
                      </a: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Inter" panose="02000503000000020004" pitchFamily="2" charset="0"/>
                        <a:ea typeface="Inter" panose="02000503000000020004" pitchFamily="2" charset="0"/>
                        <a:cs typeface="+mn-cs"/>
                      </a:endParaRPr>
                    </a:p>
                  </a:txBody>
                  <a:tcPr marL="144000" marR="144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0596232"/>
                  </a:ext>
                </a:extLst>
              </a:tr>
            </a:tbl>
          </a:graphicData>
        </a:graphic>
      </p:graphicFrame>
      <p:graphicFrame>
        <p:nvGraphicFramePr>
          <p:cNvPr id="35" name="Table 6">
            <a:extLst>
              <a:ext uri="{FF2B5EF4-FFF2-40B4-BE49-F238E27FC236}">
                <a16:creationId xmlns:a16="http://schemas.microsoft.com/office/drawing/2014/main" id="{94194DD0-825E-459A-ABA9-244E8767D4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6063913"/>
              </p:ext>
            </p:extLst>
          </p:nvPr>
        </p:nvGraphicFramePr>
        <p:xfrm>
          <a:off x="6252929" y="1979028"/>
          <a:ext cx="2271209" cy="20230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71209">
                  <a:extLst>
                    <a:ext uri="{9D8B030D-6E8A-4147-A177-3AD203B41FA5}">
                      <a16:colId xmlns:a16="http://schemas.microsoft.com/office/drawing/2014/main" val="3599022634"/>
                    </a:ext>
                  </a:extLst>
                </a:gridCol>
              </a:tblGrid>
              <a:tr h="967414">
                <a:tc>
                  <a:txBody>
                    <a:bodyPr/>
                    <a:lstStyle/>
                    <a:p>
                      <a:pPr>
                        <a:buClr>
                          <a:srgbClr val="C00000"/>
                        </a:buClr>
                        <a:buFont typeface="Arial"/>
                        <a:buNone/>
                      </a:pPr>
                      <a:r>
                        <a:rPr lang="ru-RU" sz="1100" b="0" kern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  <a:cs typeface="Arial"/>
                          <a:sym typeface="Arial"/>
                        </a:rPr>
                        <a:t>В первые 2 года изучишь все необходимые </a:t>
                      </a:r>
                      <a:r>
                        <a:rPr lang="ru-RU" sz="1100" b="0" kern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  <a:cs typeface="Arial"/>
                        </a:rPr>
                        <a:t>основы</a:t>
                      </a:r>
                      <a:endParaRPr lang="ru-RU" sz="1100" b="0" kern="0" dirty="0">
                        <a:solidFill>
                          <a:schemeClr val="bg2"/>
                        </a:solidFill>
                        <a:latin typeface="Inter" panose="02000503000000020004" pitchFamily="2" charset="0"/>
                        <a:ea typeface="Inter" panose="02000503000000020004" pitchFamily="2" charset="0"/>
                        <a:cs typeface="Arial"/>
                        <a:sym typeface="Arial"/>
                      </a:endParaRPr>
                    </a:p>
                  </a:txBody>
                  <a:tcPr marL="144000" marR="14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08318"/>
                  </a:ext>
                </a:extLst>
              </a:tr>
              <a:tr h="1055591">
                <a:tc>
                  <a:txBody>
                    <a:bodyPr/>
                    <a:lstStyle/>
                    <a:p>
                      <a:pPr marL="0" indent="0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100" b="0" kern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  <a:cs typeface="Arial"/>
                          <a:sym typeface="Arial"/>
                        </a:rPr>
                        <a:t>На 3-4 курсе сможешь выстроить свой образовательный трек, выбрав интересные и нужные именно тебе курсы</a:t>
                      </a:r>
                      <a:endParaRPr kumimoji="0" lang="en-US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Inter" panose="02000503000000020004" pitchFamily="2" charset="0"/>
                        <a:ea typeface="Inter" panose="02000503000000020004" pitchFamily="2" charset="0"/>
                        <a:cs typeface="+mn-cs"/>
                      </a:endParaRPr>
                    </a:p>
                  </a:txBody>
                  <a:tcPr marL="144000" marR="144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3052102"/>
                  </a:ext>
                </a:extLst>
              </a:tr>
            </a:tbl>
          </a:graphicData>
        </a:graphic>
      </p:graphicFrame>
      <p:sp>
        <p:nvSpPr>
          <p:cNvPr id="43" name="Rounded Rectangle 76">
            <a:extLst>
              <a:ext uri="{FF2B5EF4-FFF2-40B4-BE49-F238E27FC236}">
                <a16:creationId xmlns:a16="http://schemas.microsoft.com/office/drawing/2014/main" id="{FE5CF121-0AE8-48A6-8F0B-FBD4A5DF4575}"/>
              </a:ext>
            </a:extLst>
          </p:cNvPr>
          <p:cNvSpPr/>
          <p:nvPr/>
        </p:nvSpPr>
        <p:spPr>
          <a:xfrm>
            <a:off x="8828593" y="1413063"/>
            <a:ext cx="2271209" cy="5052574"/>
          </a:xfrm>
          <a:prstGeom prst="roundRect">
            <a:avLst>
              <a:gd name="adj" fmla="val 1502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</a:pPr>
            <a:endParaRPr lang="ru-RU" sz="1600">
              <a:solidFill>
                <a:schemeClr val="bg2"/>
              </a:solidFill>
              <a:sym typeface="+mn-lt"/>
            </a:endParaRPr>
          </a:p>
        </p:txBody>
      </p:sp>
      <p:sp>
        <p:nvSpPr>
          <p:cNvPr id="46" name="Rounded Rectangle 76">
            <a:extLst>
              <a:ext uri="{FF2B5EF4-FFF2-40B4-BE49-F238E27FC236}">
                <a16:creationId xmlns:a16="http://schemas.microsoft.com/office/drawing/2014/main" id="{C0E60127-B977-405D-8CAF-5FF341C52AFC}"/>
              </a:ext>
            </a:extLst>
          </p:cNvPr>
          <p:cNvSpPr/>
          <p:nvPr/>
        </p:nvSpPr>
        <p:spPr>
          <a:xfrm>
            <a:off x="8828593" y="1413063"/>
            <a:ext cx="2271209" cy="565965"/>
          </a:xfrm>
          <a:prstGeom prst="roundRect">
            <a:avLst>
              <a:gd name="adj" fmla="val 6951"/>
            </a:avLst>
          </a:prstGeom>
          <a:solidFill>
            <a:schemeClr val="accent1"/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Ins="72000" bIns="0" rtlCol="0" anchor="ctr" anchorCtr="0">
            <a:noAutofit/>
          </a:bodyPr>
          <a:lstStyle/>
          <a:p>
            <a:pPr>
              <a:buSzPct val="100000"/>
            </a:pPr>
            <a:r>
              <a:rPr lang="ru-RU" sz="1200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</a:rPr>
              <a:t>Семестр по обмену</a:t>
            </a:r>
          </a:p>
        </p:txBody>
      </p:sp>
      <p:pic>
        <p:nvPicPr>
          <p:cNvPr id="47" name="Graphic 8">
            <a:extLst>
              <a:ext uri="{FF2B5EF4-FFF2-40B4-BE49-F238E27FC236}">
                <a16:creationId xmlns:a16="http://schemas.microsoft.com/office/drawing/2014/main" id="{B9EF8E5D-C21C-46F5-82C8-E68C85360575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950513" y="1548130"/>
            <a:ext cx="295831" cy="295831"/>
          </a:xfrm>
          <a:prstGeom prst="rect">
            <a:avLst/>
          </a:prstGeom>
        </p:spPr>
      </p:pic>
      <p:graphicFrame>
        <p:nvGraphicFramePr>
          <p:cNvPr id="48" name="Table 6">
            <a:extLst>
              <a:ext uri="{FF2B5EF4-FFF2-40B4-BE49-F238E27FC236}">
                <a16:creationId xmlns:a16="http://schemas.microsoft.com/office/drawing/2014/main" id="{F37AAE11-5B49-4323-81E6-182101D3EC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5888985"/>
              </p:ext>
            </p:extLst>
          </p:nvPr>
        </p:nvGraphicFramePr>
        <p:xfrm>
          <a:off x="8828593" y="1979026"/>
          <a:ext cx="2271209" cy="20230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71209">
                  <a:extLst>
                    <a:ext uri="{9D8B030D-6E8A-4147-A177-3AD203B41FA5}">
                      <a16:colId xmlns:a16="http://schemas.microsoft.com/office/drawing/2014/main" val="3599022634"/>
                    </a:ext>
                  </a:extLst>
                </a:gridCol>
              </a:tblGrid>
              <a:tr h="974192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kern="0" noProof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Сможешь поучиться 1-2 семестра в другой стране </a:t>
                      </a:r>
                    </a:p>
                  </a:txBody>
                  <a:tcPr marL="144000" marR="14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08318"/>
                  </a:ext>
                </a:extLst>
              </a:tr>
              <a:tr h="1048813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kern="0" noProof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Большой выбор партнерских </a:t>
                      </a:r>
                      <a:br>
                        <a:rPr lang="ru-RU" sz="1100" b="0" i="0" u="none" strike="noStrike" kern="0" noProof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</a:br>
                      <a:r>
                        <a:rPr lang="ru-RU" sz="1100" b="0" i="0" u="none" strike="noStrike" kern="0" noProof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бизнес-школ в разных</a:t>
                      </a:r>
                      <a:br>
                        <a:rPr lang="ru-RU" sz="1100" b="0" i="0" u="none" strike="noStrike" kern="0" noProof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</a:br>
                      <a:r>
                        <a:rPr lang="ru-RU" sz="1100" b="0" i="0" u="none" strike="noStrike" kern="0" noProof="0" dirty="0">
                          <a:solidFill>
                            <a:schemeClr val="bg2"/>
                          </a:solidFill>
                          <a:latin typeface="Inter" panose="02000503000000020004" pitchFamily="2" charset="0"/>
                          <a:ea typeface="Inter" panose="02000503000000020004" pitchFamily="2" charset="0"/>
                        </a:rPr>
                        <a:t>странах мира</a:t>
                      </a:r>
                    </a:p>
                  </a:txBody>
                  <a:tcPr marL="144000" marR="144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3052102"/>
                  </a:ext>
                </a:extLst>
              </a:tr>
            </a:tbl>
          </a:graphicData>
        </a:graphic>
      </p:graphicFrame>
      <p:pic>
        <p:nvPicPr>
          <p:cNvPr id="52" name="Picture 29" descr="Logo, icon&#10;&#10;Description automatically generated">
            <a:extLst>
              <a:ext uri="{FF2B5EF4-FFF2-40B4-BE49-F238E27FC236}">
                <a16:creationId xmlns:a16="http://schemas.microsoft.com/office/drawing/2014/main" id="{2CA2AF39-AD9F-4F2F-8E2F-4E036832838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399" y="4375587"/>
            <a:ext cx="1936800" cy="1936800"/>
          </a:xfrm>
          <a:prstGeom prst="rect">
            <a:avLst/>
          </a:prstGeom>
        </p:spPr>
      </p:pic>
      <p:pic>
        <p:nvPicPr>
          <p:cNvPr id="53" name="Picture 18" descr="A picture containing text, cake, decorated&#10;&#10;Description automatically generated">
            <a:extLst>
              <a:ext uri="{FF2B5EF4-FFF2-40B4-BE49-F238E27FC236}">
                <a16:creationId xmlns:a16="http://schemas.microsoft.com/office/drawing/2014/main" id="{AA1CB56F-CC97-4154-9D27-AB33D6415A88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639" y="4375587"/>
            <a:ext cx="1937594" cy="1937594"/>
          </a:xfrm>
          <a:prstGeom prst="rect">
            <a:avLst/>
          </a:prstGeom>
        </p:spPr>
      </p:pic>
      <p:pic>
        <p:nvPicPr>
          <p:cNvPr id="54" name="Picture 34" descr="Icon&#10;&#10;Description automatically generated">
            <a:extLst>
              <a:ext uri="{FF2B5EF4-FFF2-40B4-BE49-F238E27FC236}">
                <a16:creationId xmlns:a16="http://schemas.microsoft.com/office/drawing/2014/main" id="{C957E0E2-1A0A-42FE-9DE2-D50C9B1F7FC0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7356" y="4344468"/>
            <a:ext cx="1936335" cy="1936800"/>
          </a:xfrm>
          <a:prstGeom prst="rect">
            <a:avLst/>
          </a:prstGeom>
        </p:spPr>
      </p:pic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A726C55F-728F-EBD5-3237-9C6A76A9FEB8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8309" y="4341468"/>
            <a:ext cx="1936800" cy="19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4187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F9C36B48-5D69-47B8-8A77-5231FA08E0F0}"/>
              </a:ext>
            </a:extLst>
          </p:cNvPr>
          <p:cNvSpPr/>
          <p:nvPr/>
        </p:nvSpPr>
        <p:spPr>
          <a:xfrm>
            <a:off x="867344" y="1329917"/>
            <a:ext cx="5148751" cy="5015321"/>
          </a:xfrm>
          <a:custGeom>
            <a:avLst/>
            <a:gdLst>
              <a:gd name="connsiteX0" fmla="*/ 58322 w 5001012"/>
              <a:gd name="connsiteY0" fmla="*/ 0 h 4304219"/>
              <a:gd name="connsiteX1" fmla="*/ 5001012 w 5001012"/>
              <a:gd name="connsiteY1" fmla="*/ 0 h 4304219"/>
              <a:gd name="connsiteX2" fmla="*/ 5001012 w 5001012"/>
              <a:gd name="connsiteY2" fmla="*/ 4304219 h 4304219"/>
              <a:gd name="connsiteX3" fmla="*/ 58322 w 5001012"/>
              <a:gd name="connsiteY3" fmla="*/ 4304219 h 4304219"/>
              <a:gd name="connsiteX4" fmla="*/ 0 w 5001012"/>
              <a:gd name="connsiteY4" fmla="*/ 4245897 h 4304219"/>
              <a:gd name="connsiteX5" fmla="*/ 0 w 5001012"/>
              <a:gd name="connsiteY5" fmla="*/ 58322 h 4304219"/>
              <a:gd name="connsiteX6" fmla="*/ 58322 w 5001012"/>
              <a:gd name="connsiteY6" fmla="*/ 0 h 430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1012" h="4304219">
                <a:moveTo>
                  <a:pt x="58322" y="0"/>
                </a:moveTo>
                <a:lnTo>
                  <a:pt x="5001012" y="0"/>
                </a:lnTo>
                <a:lnTo>
                  <a:pt x="5001012" y="4304219"/>
                </a:lnTo>
                <a:lnTo>
                  <a:pt x="58322" y="4304219"/>
                </a:lnTo>
                <a:cubicBezTo>
                  <a:pt x="26112" y="4304219"/>
                  <a:pt x="0" y="4278107"/>
                  <a:pt x="0" y="4245897"/>
                </a:cubicBezTo>
                <a:lnTo>
                  <a:pt x="0" y="58322"/>
                </a:lnTo>
                <a:cubicBezTo>
                  <a:pt x="0" y="26112"/>
                  <a:pt x="26112" y="0"/>
                  <a:pt x="58322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1442" rIns="72000" bIns="71442" rtlCol="0" anchor="t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ru-RU" sz="900">
              <a:solidFill>
                <a:srgbClr val="BE1E2D"/>
              </a:solidFill>
              <a:latin typeface="Montserrat SemiBold"/>
              <a:cs typeface="Arial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40827AD-A525-4996-B19C-40C2424049D8}"/>
              </a:ext>
            </a:extLst>
          </p:cNvPr>
          <p:cNvSpPr/>
          <p:nvPr/>
        </p:nvSpPr>
        <p:spPr>
          <a:xfrm>
            <a:off x="6055287" y="1323739"/>
            <a:ext cx="50339" cy="502767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ee4pHeader1">
            <a:extLst>
              <a:ext uri="{FF2B5EF4-FFF2-40B4-BE49-F238E27FC236}">
                <a16:creationId xmlns:a16="http://schemas.microsoft.com/office/drawing/2014/main" id="{07690969-F841-42AE-BCA1-17E499315909}"/>
              </a:ext>
            </a:extLst>
          </p:cNvPr>
          <p:cNvSpPr txBox="1"/>
          <p:nvPr/>
        </p:nvSpPr>
        <p:spPr>
          <a:xfrm>
            <a:off x="1961501" y="1586304"/>
            <a:ext cx="3957643" cy="40011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0" lvl="3">
              <a:spcAft>
                <a:spcPts val="300"/>
              </a:spcAft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Arial"/>
                <a:sym typeface="Arial"/>
              </a:rPr>
              <a:t>Оперативное и стратегическое управление в сфере внешнеэкономической деятельности</a:t>
            </a:r>
          </a:p>
        </p:txBody>
      </p:sp>
      <p:sp>
        <p:nvSpPr>
          <p:cNvPr id="69" name="Oval 20">
            <a:extLst>
              <a:ext uri="{FF2B5EF4-FFF2-40B4-BE49-F238E27FC236}">
                <a16:creationId xmlns:a16="http://schemas.microsoft.com/office/drawing/2014/main" id="{5AD996ED-D86C-4D25-B4E5-9DECE341B97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45991" y="1491486"/>
            <a:ext cx="604283" cy="593381"/>
          </a:xfrm>
          <a:prstGeom prst="ellipse">
            <a:avLst/>
          </a:prstGeom>
          <a:noFill/>
          <a:ln w="38100">
            <a:solidFill>
              <a:schemeClr val="tx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58" name="ee4pHeader1">
            <a:extLst>
              <a:ext uri="{FF2B5EF4-FFF2-40B4-BE49-F238E27FC236}">
                <a16:creationId xmlns:a16="http://schemas.microsoft.com/office/drawing/2014/main" id="{1C22C457-FC11-49A2-B1C9-83C04E0C5399}"/>
              </a:ext>
            </a:extLst>
          </p:cNvPr>
          <p:cNvSpPr txBox="1"/>
          <p:nvPr/>
        </p:nvSpPr>
        <p:spPr>
          <a:xfrm>
            <a:off x="1956049" y="2285280"/>
            <a:ext cx="3895083" cy="40011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ru-RU"/>
            </a:defPPr>
            <a:lvl4pPr marL="0" marR="0" lvl="3" indent="0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1200">
                <a:solidFill>
                  <a:schemeClr val="bg2">
                    <a:lumMod val="75000"/>
                  </a:schemeClr>
                </a:solidFill>
              </a:defRPr>
            </a:lvl4pPr>
          </a:lstStyle>
          <a:p>
            <a:pPr lvl="3"/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Arial"/>
                <a:sym typeface="Arial"/>
              </a:rPr>
              <a:t>Оценка внешнеэкономических операций и международных проектов</a:t>
            </a:r>
          </a:p>
        </p:txBody>
      </p:sp>
      <p:sp>
        <p:nvSpPr>
          <p:cNvPr id="73" name="Oval 20">
            <a:extLst>
              <a:ext uri="{FF2B5EF4-FFF2-40B4-BE49-F238E27FC236}">
                <a16:creationId xmlns:a16="http://schemas.microsoft.com/office/drawing/2014/main" id="{76C48273-A7AD-4705-8B25-FEA16A5B683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45991" y="2172375"/>
            <a:ext cx="601193" cy="592509"/>
          </a:xfrm>
          <a:prstGeom prst="ellipse">
            <a:avLst/>
          </a:prstGeom>
          <a:noFill/>
          <a:ln w="38100">
            <a:solidFill>
              <a:schemeClr val="tx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63" name="ee4pHeader1">
            <a:extLst>
              <a:ext uri="{FF2B5EF4-FFF2-40B4-BE49-F238E27FC236}">
                <a16:creationId xmlns:a16="http://schemas.microsoft.com/office/drawing/2014/main" id="{10C5C584-E12E-40BE-AD7A-02BDDBC121E2}"/>
              </a:ext>
            </a:extLst>
          </p:cNvPr>
          <p:cNvSpPr txBox="1"/>
          <p:nvPr/>
        </p:nvSpPr>
        <p:spPr>
          <a:xfrm>
            <a:off x="1961500" y="3050677"/>
            <a:ext cx="3801195" cy="20005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ru-RU"/>
            </a:defPPr>
            <a:lvl4pPr marL="0" marR="0" lvl="3" indent="0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1200">
                <a:solidFill>
                  <a:schemeClr val="bg2">
                    <a:lumMod val="75000"/>
                  </a:schemeClr>
                </a:solidFill>
              </a:defRPr>
            </a:lvl4pPr>
          </a:lstStyle>
          <a:p>
            <a:pPr lvl="3"/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Arial"/>
                <a:sym typeface="Arial"/>
              </a:rPr>
              <a:t>Стратегический анализ зарубежных рынков</a:t>
            </a:r>
          </a:p>
        </p:txBody>
      </p:sp>
      <p:sp>
        <p:nvSpPr>
          <p:cNvPr id="76" name="Oval 20">
            <a:extLst>
              <a:ext uri="{FF2B5EF4-FFF2-40B4-BE49-F238E27FC236}">
                <a16:creationId xmlns:a16="http://schemas.microsoft.com/office/drawing/2014/main" id="{A8FDC28F-5F33-4644-834C-CE939E7F282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45991" y="2852935"/>
            <a:ext cx="604283" cy="605407"/>
          </a:xfrm>
          <a:prstGeom prst="ellipse">
            <a:avLst/>
          </a:prstGeom>
          <a:noFill/>
          <a:ln w="38100">
            <a:solidFill>
              <a:schemeClr val="tx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68" name="ee4pHeader1">
            <a:extLst>
              <a:ext uri="{FF2B5EF4-FFF2-40B4-BE49-F238E27FC236}">
                <a16:creationId xmlns:a16="http://schemas.microsoft.com/office/drawing/2014/main" id="{D395C9DD-7BF5-402C-86EA-1807E425F5F9}"/>
              </a:ext>
            </a:extLst>
          </p:cNvPr>
          <p:cNvSpPr txBox="1"/>
          <p:nvPr/>
        </p:nvSpPr>
        <p:spPr>
          <a:xfrm>
            <a:off x="1961501" y="3643578"/>
            <a:ext cx="3889632" cy="40011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ru-RU"/>
            </a:defPPr>
            <a:lvl4pPr marL="0" marR="0" lvl="3" indent="0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1200">
                <a:solidFill>
                  <a:schemeClr val="bg2">
                    <a:lumMod val="75000"/>
                  </a:schemeClr>
                </a:solidFill>
              </a:defRPr>
            </a:lvl4pPr>
          </a:lstStyle>
          <a:p>
            <a:pPr lvl="3"/>
            <a:r>
              <a:rPr kumimoji="0" lang="ru-RU" sz="13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Arial"/>
                <a:sym typeface="Arial"/>
              </a:rPr>
              <a:t>Вывод продуктов и услуг на зарубежные рынки</a:t>
            </a:r>
          </a:p>
        </p:txBody>
      </p:sp>
      <p:sp>
        <p:nvSpPr>
          <p:cNvPr id="79" name="Oval 20">
            <a:extLst>
              <a:ext uri="{FF2B5EF4-FFF2-40B4-BE49-F238E27FC236}">
                <a16:creationId xmlns:a16="http://schemas.microsoft.com/office/drawing/2014/main" id="{44358B1D-5A89-4DC8-8BC1-C99AB0F52E3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45991" y="3546393"/>
            <a:ext cx="609802" cy="585961"/>
          </a:xfrm>
          <a:prstGeom prst="ellipse">
            <a:avLst/>
          </a:prstGeom>
          <a:noFill/>
          <a:ln w="38100">
            <a:solidFill>
              <a:schemeClr val="tx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38" name="ee4pHeader1">
            <a:extLst>
              <a:ext uri="{FF2B5EF4-FFF2-40B4-BE49-F238E27FC236}">
                <a16:creationId xmlns:a16="http://schemas.microsoft.com/office/drawing/2014/main" id="{AB27FAC2-BE8D-4A81-922C-17F745DBBE41}"/>
              </a:ext>
            </a:extLst>
          </p:cNvPr>
          <p:cNvSpPr txBox="1"/>
          <p:nvPr/>
        </p:nvSpPr>
        <p:spPr>
          <a:xfrm>
            <a:off x="1956966" y="4314768"/>
            <a:ext cx="3889632" cy="40011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0" lvl="3">
              <a:spcAft>
                <a:spcPts val="300"/>
              </a:spcAft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Arial"/>
                <a:sym typeface="Arial"/>
              </a:rPr>
              <a:t>Контроль деятельности кросс-культурных команд</a:t>
            </a:r>
          </a:p>
        </p:txBody>
      </p:sp>
      <p:sp>
        <p:nvSpPr>
          <p:cNvPr id="40" name="Oval 20">
            <a:extLst>
              <a:ext uri="{FF2B5EF4-FFF2-40B4-BE49-F238E27FC236}">
                <a16:creationId xmlns:a16="http://schemas.microsoft.com/office/drawing/2014/main" id="{3FC4FA0F-1D74-42EA-87F1-8CF49108B72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45991" y="4217654"/>
            <a:ext cx="599196" cy="592510"/>
          </a:xfrm>
          <a:prstGeom prst="ellipse">
            <a:avLst/>
          </a:prstGeom>
          <a:noFill/>
          <a:ln w="38100">
            <a:solidFill>
              <a:schemeClr val="tx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43" name="ee4pHeader1">
            <a:extLst>
              <a:ext uri="{FF2B5EF4-FFF2-40B4-BE49-F238E27FC236}">
                <a16:creationId xmlns:a16="http://schemas.microsoft.com/office/drawing/2014/main" id="{3B885ACF-6F0E-42B0-B864-73A19C02255E}"/>
              </a:ext>
            </a:extLst>
          </p:cNvPr>
          <p:cNvSpPr txBox="1"/>
          <p:nvPr/>
        </p:nvSpPr>
        <p:spPr>
          <a:xfrm>
            <a:off x="1956049" y="4907863"/>
            <a:ext cx="3889631" cy="60016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0" lvl="3">
              <a:spcAft>
                <a:spcPts val="300"/>
              </a:spcAft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Arial"/>
                <a:sym typeface="Arial"/>
              </a:rPr>
              <a:t>Моделирование бизнес-процессов в компаниях, осуществляющих международные операции</a:t>
            </a:r>
          </a:p>
        </p:txBody>
      </p:sp>
      <p:sp>
        <p:nvSpPr>
          <p:cNvPr id="46" name="Oval 20">
            <a:extLst>
              <a:ext uri="{FF2B5EF4-FFF2-40B4-BE49-F238E27FC236}">
                <a16:creationId xmlns:a16="http://schemas.microsoft.com/office/drawing/2014/main" id="{111E62D9-15CC-4E24-A39E-EE47AB57D8B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45991" y="4901970"/>
            <a:ext cx="601165" cy="613170"/>
          </a:xfrm>
          <a:prstGeom prst="ellipse">
            <a:avLst/>
          </a:prstGeom>
          <a:noFill/>
          <a:ln w="38100">
            <a:solidFill>
              <a:schemeClr val="tx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>
              <a:solidFill>
                <a:schemeClr val="lt1"/>
              </a:solidFill>
              <a:latin typeface="+mj-lt"/>
            </a:endParaRPr>
          </a:p>
        </p:txBody>
      </p:sp>
      <p:sp>
        <p:nvSpPr>
          <p:cNvPr id="49" name="ee4pHeader1">
            <a:extLst>
              <a:ext uri="{FF2B5EF4-FFF2-40B4-BE49-F238E27FC236}">
                <a16:creationId xmlns:a16="http://schemas.microsoft.com/office/drawing/2014/main" id="{28B86E2B-5025-4B75-BC8D-19ADAA62DC7F}"/>
              </a:ext>
            </a:extLst>
          </p:cNvPr>
          <p:cNvSpPr txBox="1"/>
          <p:nvPr/>
        </p:nvSpPr>
        <p:spPr>
          <a:xfrm>
            <a:off x="1956050" y="5800546"/>
            <a:ext cx="3889630" cy="20005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 marL="0" lvl="3">
              <a:spcAft>
                <a:spcPts val="300"/>
              </a:spcAft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Arial"/>
                <a:sym typeface="Arial"/>
              </a:rPr>
              <a:t>Управление персоналом в глобальной среде</a:t>
            </a:r>
          </a:p>
        </p:txBody>
      </p:sp>
      <p:sp>
        <p:nvSpPr>
          <p:cNvPr id="52" name="Oval 20">
            <a:extLst>
              <a:ext uri="{FF2B5EF4-FFF2-40B4-BE49-F238E27FC236}">
                <a16:creationId xmlns:a16="http://schemas.microsoft.com/office/drawing/2014/main" id="{AAAC98B8-2769-43B1-8E7C-5D86B8C1264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34033" y="5588405"/>
            <a:ext cx="612336" cy="613170"/>
          </a:xfrm>
          <a:prstGeom prst="ellipse">
            <a:avLst/>
          </a:prstGeom>
          <a:noFill/>
          <a:ln w="38100">
            <a:solidFill>
              <a:schemeClr val="tx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>
              <a:solidFill>
                <a:schemeClr val="lt1"/>
              </a:solidFill>
              <a:latin typeface="+mj-lt"/>
            </a:endParaRPr>
          </a:p>
        </p:txBody>
      </p:sp>
      <p:pic>
        <p:nvPicPr>
          <p:cNvPr id="3" name="Рисунок 2" descr="Непрерывное улучшение контур">
            <a:extLst>
              <a:ext uri="{FF2B5EF4-FFF2-40B4-BE49-F238E27FC236}">
                <a16:creationId xmlns:a16="http://schemas.microsoft.com/office/drawing/2014/main" id="{E7981CC9-C287-4E74-874F-2676F026558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1731" y="3543951"/>
            <a:ext cx="625616" cy="625616"/>
          </a:xfrm>
          <a:prstGeom prst="rect">
            <a:avLst/>
          </a:prstGeom>
        </p:spPr>
      </p:pic>
      <p:grpSp>
        <p:nvGrpSpPr>
          <p:cNvPr id="105" name="Graphic 17">
            <a:extLst>
              <a:ext uri="{FF2B5EF4-FFF2-40B4-BE49-F238E27FC236}">
                <a16:creationId xmlns:a16="http://schemas.microsoft.com/office/drawing/2014/main" id="{41C7D7B7-A63D-4210-9C6E-CE4B3E72324C}"/>
              </a:ext>
            </a:extLst>
          </p:cNvPr>
          <p:cNvGrpSpPr/>
          <p:nvPr/>
        </p:nvGrpSpPr>
        <p:grpSpPr>
          <a:xfrm>
            <a:off x="1220963" y="5692644"/>
            <a:ext cx="437317" cy="427956"/>
            <a:chOff x="1229450" y="2303079"/>
            <a:chExt cx="540000" cy="540000"/>
          </a:xfrm>
          <a:solidFill>
            <a:schemeClr val="accent1"/>
          </a:solidFill>
        </p:grpSpPr>
        <p:sp>
          <p:nvSpPr>
            <p:cNvPr id="107" name="Freeform: Shape 68">
              <a:extLst>
                <a:ext uri="{FF2B5EF4-FFF2-40B4-BE49-F238E27FC236}">
                  <a16:creationId xmlns:a16="http://schemas.microsoft.com/office/drawing/2014/main" id="{0597DA61-59C6-40A2-82A8-77D6FF86CF01}"/>
                </a:ext>
              </a:extLst>
            </p:cNvPr>
            <p:cNvSpPr/>
            <p:nvPr/>
          </p:nvSpPr>
          <p:spPr>
            <a:xfrm>
              <a:off x="1394150" y="2583879"/>
              <a:ext cx="210600" cy="113400"/>
            </a:xfrm>
            <a:custGeom>
              <a:avLst/>
              <a:gdLst>
                <a:gd name="connsiteX0" fmla="*/ 105300 w 210600"/>
                <a:gd name="connsiteY0" fmla="*/ 0 h 113400"/>
                <a:gd name="connsiteX1" fmla="*/ 0 w 210600"/>
                <a:gd name="connsiteY1" fmla="*/ 105300 h 113400"/>
                <a:gd name="connsiteX2" fmla="*/ 8100 w 210600"/>
                <a:gd name="connsiteY2" fmla="*/ 113400 h 113400"/>
                <a:gd name="connsiteX3" fmla="*/ 202500 w 210600"/>
                <a:gd name="connsiteY3" fmla="*/ 113400 h 113400"/>
                <a:gd name="connsiteX4" fmla="*/ 210600 w 210600"/>
                <a:gd name="connsiteY4" fmla="*/ 105300 h 113400"/>
                <a:gd name="connsiteX5" fmla="*/ 105300 w 210600"/>
                <a:gd name="connsiteY5" fmla="*/ 0 h 113400"/>
                <a:gd name="connsiteX6" fmla="*/ 16578 w 210600"/>
                <a:gd name="connsiteY6" fmla="*/ 97200 h 113400"/>
                <a:gd name="connsiteX7" fmla="*/ 113228 w 210600"/>
                <a:gd name="connsiteY7" fmla="*/ 16352 h 113400"/>
                <a:gd name="connsiteX8" fmla="*/ 194076 w 210600"/>
                <a:gd name="connsiteY8" fmla="*/ 97200 h 11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0600" h="113400">
                  <a:moveTo>
                    <a:pt x="105300" y="0"/>
                  </a:moveTo>
                  <a:cubicBezTo>
                    <a:pt x="47169" y="59"/>
                    <a:pt x="59" y="47169"/>
                    <a:pt x="0" y="105300"/>
                  </a:cubicBezTo>
                  <a:cubicBezTo>
                    <a:pt x="0" y="109773"/>
                    <a:pt x="3627" y="113400"/>
                    <a:pt x="8100" y="113400"/>
                  </a:cubicBezTo>
                  <a:lnTo>
                    <a:pt x="202500" y="113400"/>
                  </a:lnTo>
                  <a:cubicBezTo>
                    <a:pt x="206973" y="113400"/>
                    <a:pt x="210600" y="109773"/>
                    <a:pt x="210600" y="105300"/>
                  </a:cubicBezTo>
                  <a:cubicBezTo>
                    <a:pt x="210541" y="47169"/>
                    <a:pt x="163431" y="59"/>
                    <a:pt x="105300" y="0"/>
                  </a:cubicBezTo>
                  <a:close/>
                  <a:moveTo>
                    <a:pt x="16578" y="97200"/>
                  </a:moveTo>
                  <a:cubicBezTo>
                    <a:pt x="20942" y="48185"/>
                    <a:pt x="64213" y="11989"/>
                    <a:pt x="113228" y="16352"/>
                  </a:cubicBezTo>
                  <a:cubicBezTo>
                    <a:pt x="156195" y="20177"/>
                    <a:pt x="190251" y="54233"/>
                    <a:pt x="194076" y="97200"/>
                  </a:cubicBezTo>
                  <a:close/>
                </a:path>
              </a:pathLst>
            </a:custGeom>
            <a:grpFill/>
            <a:ln w="5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" name="Freeform: Shape 69">
              <a:extLst>
                <a:ext uri="{FF2B5EF4-FFF2-40B4-BE49-F238E27FC236}">
                  <a16:creationId xmlns:a16="http://schemas.microsoft.com/office/drawing/2014/main" id="{68232350-2A0D-46DD-BA74-7ACDF7B49138}"/>
                </a:ext>
              </a:extLst>
            </p:cNvPr>
            <p:cNvSpPr/>
            <p:nvPr/>
          </p:nvSpPr>
          <p:spPr>
            <a:xfrm>
              <a:off x="1431950" y="2435379"/>
              <a:ext cx="124200" cy="124200"/>
            </a:xfrm>
            <a:custGeom>
              <a:avLst/>
              <a:gdLst>
                <a:gd name="connsiteX0" fmla="*/ 62100 w 124200"/>
                <a:gd name="connsiteY0" fmla="*/ 124200 h 124200"/>
                <a:gd name="connsiteX1" fmla="*/ 124200 w 124200"/>
                <a:gd name="connsiteY1" fmla="*/ 62100 h 124200"/>
                <a:gd name="connsiteX2" fmla="*/ 62100 w 124200"/>
                <a:gd name="connsiteY2" fmla="*/ 0 h 124200"/>
                <a:gd name="connsiteX3" fmla="*/ 0 w 124200"/>
                <a:gd name="connsiteY3" fmla="*/ 62100 h 124200"/>
                <a:gd name="connsiteX4" fmla="*/ 62100 w 124200"/>
                <a:gd name="connsiteY4" fmla="*/ 124200 h 124200"/>
                <a:gd name="connsiteX5" fmla="*/ 62100 w 124200"/>
                <a:gd name="connsiteY5" fmla="*/ 16200 h 124200"/>
                <a:gd name="connsiteX6" fmla="*/ 108000 w 124200"/>
                <a:gd name="connsiteY6" fmla="*/ 62100 h 124200"/>
                <a:gd name="connsiteX7" fmla="*/ 62100 w 124200"/>
                <a:gd name="connsiteY7" fmla="*/ 108000 h 124200"/>
                <a:gd name="connsiteX8" fmla="*/ 16200 w 124200"/>
                <a:gd name="connsiteY8" fmla="*/ 62100 h 124200"/>
                <a:gd name="connsiteX9" fmla="*/ 62100 w 124200"/>
                <a:gd name="connsiteY9" fmla="*/ 16200 h 124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200" h="124200">
                  <a:moveTo>
                    <a:pt x="62100" y="124200"/>
                  </a:moveTo>
                  <a:cubicBezTo>
                    <a:pt x="96397" y="124200"/>
                    <a:pt x="124200" y="96397"/>
                    <a:pt x="124200" y="62100"/>
                  </a:cubicBezTo>
                  <a:cubicBezTo>
                    <a:pt x="124200" y="27803"/>
                    <a:pt x="96397" y="0"/>
                    <a:pt x="62100" y="0"/>
                  </a:cubicBezTo>
                  <a:cubicBezTo>
                    <a:pt x="27803" y="0"/>
                    <a:pt x="0" y="27803"/>
                    <a:pt x="0" y="62100"/>
                  </a:cubicBezTo>
                  <a:cubicBezTo>
                    <a:pt x="30" y="96385"/>
                    <a:pt x="27815" y="124170"/>
                    <a:pt x="62100" y="124200"/>
                  </a:cubicBezTo>
                  <a:close/>
                  <a:moveTo>
                    <a:pt x="62100" y="16200"/>
                  </a:moveTo>
                  <a:cubicBezTo>
                    <a:pt x="87450" y="16200"/>
                    <a:pt x="108000" y="36750"/>
                    <a:pt x="108000" y="62100"/>
                  </a:cubicBezTo>
                  <a:cubicBezTo>
                    <a:pt x="108000" y="87450"/>
                    <a:pt x="87450" y="108000"/>
                    <a:pt x="62100" y="108000"/>
                  </a:cubicBezTo>
                  <a:cubicBezTo>
                    <a:pt x="36750" y="108000"/>
                    <a:pt x="16200" y="87450"/>
                    <a:pt x="16200" y="62100"/>
                  </a:cubicBezTo>
                  <a:cubicBezTo>
                    <a:pt x="16230" y="36763"/>
                    <a:pt x="36763" y="16230"/>
                    <a:pt x="62100" y="16200"/>
                  </a:cubicBezTo>
                  <a:close/>
                </a:path>
              </a:pathLst>
            </a:custGeom>
            <a:grpFill/>
            <a:ln w="5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" name="Freeform: Shape 70">
              <a:extLst>
                <a:ext uri="{FF2B5EF4-FFF2-40B4-BE49-F238E27FC236}">
                  <a16:creationId xmlns:a16="http://schemas.microsoft.com/office/drawing/2014/main" id="{F2C7B7E9-A1E7-4DB2-8C7A-A7F8AC25A723}"/>
                </a:ext>
              </a:extLst>
            </p:cNvPr>
            <p:cNvSpPr/>
            <p:nvPr/>
          </p:nvSpPr>
          <p:spPr>
            <a:xfrm>
              <a:off x="1237550" y="2308479"/>
              <a:ext cx="523800" cy="529200"/>
            </a:xfrm>
            <a:custGeom>
              <a:avLst/>
              <a:gdLst>
                <a:gd name="connsiteX0" fmla="*/ 515700 w 523800"/>
                <a:gd name="connsiteY0" fmla="*/ 253800 h 529200"/>
                <a:gd name="connsiteX1" fmla="*/ 488430 w 523800"/>
                <a:gd name="connsiteY1" fmla="*/ 253800 h 529200"/>
                <a:gd name="connsiteX2" fmla="*/ 267300 w 523800"/>
                <a:gd name="connsiteY2" fmla="*/ 37800 h 529200"/>
                <a:gd name="connsiteX3" fmla="*/ 267300 w 523800"/>
                <a:gd name="connsiteY3" fmla="*/ 8100 h 529200"/>
                <a:gd name="connsiteX4" fmla="*/ 259200 w 523800"/>
                <a:gd name="connsiteY4" fmla="*/ 0 h 529200"/>
                <a:gd name="connsiteX5" fmla="*/ 251100 w 523800"/>
                <a:gd name="connsiteY5" fmla="*/ 8100 h 529200"/>
                <a:gd name="connsiteX6" fmla="*/ 251100 w 523800"/>
                <a:gd name="connsiteY6" fmla="*/ 38070 h 529200"/>
                <a:gd name="connsiteX7" fmla="*/ 35370 w 523800"/>
                <a:gd name="connsiteY7" fmla="*/ 253800 h 529200"/>
                <a:gd name="connsiteX8" fmla="*/ 8100 w 523800"/>
                <a:gd name="connsiteY8" fmla="*/ 253800 h 529200"/>
                <a:gd name="connsiteX9" fmla="*/ 0 w 523800"/>
                <a:gd name="connsiteY9" fmla="*/ 261900 h 529200"/>
                <a:gd name="connsiteX10" fmla="*/ 8100 w 523800"/>
                <a:gd name="connsiteY10" fmla="*/ 270000 h 529200"/>
                <a:gd name="connsiteX11" fmla="*/ 35100 w 523800"/>
                <a:gd name="connsiteY11" fmla="*/ 270000 h 529200"/>
                <a:gd name="connsiteX12" fmla="*/ 251100 w 523800"/>
                <a:gd name="connsiteY12" fmla="*/ 491130 h 529200"/>
                <a:gd name="connsiteX13" fmla="*/ 251100 w 523800"/>
                <a:gd name="connsiteY13" fmla="*/ 521100 h 529200"/>
                <a:gd name="connsiteX14" fmla="*/ 259200 w 523800"/>
                <a:gd name="connsiteY14" fmla="*/ 529200 h 529200"/>
                <a:gd name="connsiteX15" fmla="*/ 267300 w 523800"/>
                <a:gd name="connsiteY15" fmla="*/ 521100 h 529200"/>
                <a:gd name="connsiteX16" fmla="*/ 267300 w 523800"/>
                <a:gd name="connsiteY16" fmla="*/ 491400 h 529200"/>
                <a:gd name="connsiteX17" fmla="*/ 488700 w 523800"/>
                <a:gd name="connsiteY17" fmla="*/ 270000 h 529200"/>
                <a:gd name="connsiteX18" fmla="*/ 515700 w 523800"/>
                <a:gd name="connsiteY18" fmla="*/ 270000 h 529200"/>
                <a:gd name="connsiteX19" fmla="*/ 523800 w 523800"/>
                <a:gd name="connsiteY19" fmla="*/ 261900 h 529200"/>
                <a:gd name="connsiteX20" fmla="*/ 515700 w 523800"/>
                <a:gd name="connsiteY20" fmla="*/ 253800 h 529200"/>
                <a:gd name="connsiteX21" fmla="*/ 267300 w 523800"/>
                <a:gd name="connsiteY21" fmla="*/ 475200 h 529200"/>
                <a:gd name="connsiteX22" fmla="*/ 267300 w 523800"/>
                <a:gd name="connsiteY22" fmla="*/ 450900 h 529200"/>
                <a:gd name="connsiteX23" fmla="*/ 259200 w 523800"/>
                <a:gd name="connsiteY23" fmla="*/ 442800 h 529200"/>
                <a:gd name="connsiteX24" fmla="*/ 251100 w 523800"/>
                <a:gd name="connsiteY24" fmla="*/ 450900 h 529200"/>
                <a:gd name="connsiteX25" fmla="*/ 251100 w 523800"/>
                <a:gd name="connsiteY25" fmla="*/ 474930 h 529200"/>
                <a:gd name="connsiteX26" fmla="*/ 51300 w 523800"/>
                <a:gd name="connsiteY26" fmla="*/ 270000 h 529200"/>
                <a:gd name="connsiteX27" fmla="*/ 78300 w 523800"/>
                <a:gd name="connsiteY27" fmla="*/ 270000 h 529200"/>
                <a:gd name="connsiteX28" fmla="*/ 86400 w 523800"/>
                <a:gd name="connsiteY28" fmla="*/ 261900 h 529200"/>
                <a:gd name="connsiteX29" fmla="*/ 78300 w 523800"/>
                <a:gd name="connsiteY29" fmla="*/ 253800 h 529200"/>
                <a:gd name="connsiteX30" fmla="*/ 51570 w 523800"/>
                <a:gd name="connsiteY30" fmla="*/ 253800 h 529200"/>
                <a:gd name="connsiteX31" fmla="*/ 251100 w 523800"/>
                <a:gd name="connsiteY31" fmla="*/ 54270 h 529200"/>
                <a:gd name="connsiteX32" fmla="*/ 251100 w 523800"/>
                <a:gd name="connsiteY32" fmla="*/ 78300 h 529200"/>
                <a:gd name="connsiteX33" fmla="*/ 259200 w 523800"/>
                <a:gd name="connsiteY33" fmla="*/ 86400 h 529200"/>
                <a:gd name="connsiteX34" fmla="*/ 267300 w 523800"/>
                <a:gd name="connsiteY34" fmla="*/ 78300 h 529200"/>
                <a:gd name="connsiteX35" fmla="*/ 267300 w 523800"/>
                <a:gd name="connsiteY35" fmla="*/ 54000 h 529200"/>
                <a:gd name="connsiteX36" fmla="*/ 472230 w 523800"/>
                <a:gd name="connsiteY36" fmla="*/ 253800 h 529200"/>
                <a:gd name="connsiteX37" fmla="*/ 445500 w 523800"/>
                <a:gd name="connsiteY37" fmla="*/ 253800 h 529200"/>
                <a:gd name="connsiteX38" fmla="*/ 437400 w 523800"/>
                <a:gd name="connsiteY38" fmla="*/ 261900 h 529200"/>
                <a:gd name="connsiteX39" fmla="*/ 445500 w 523800"/>
                <a:gd name="connsiteY39" fmla="*/ 270000 h 529200"/>
                <a:gd name="connsiteX40" fmla="*/ 472500 w 523800"/>
                <a:gd name="connsiteY40" fmla="*/ 270000 h 529200"/>
                <a:gd name="connsiteX41" fmla="*/ 267300 w 523800"/>
                <a:gd name="connsiteY41" fmla="*/ 475200 h 52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23800" h="529200">
                  <a:moveTo>
                    <a:pt x="515700" y="253800"/>
                  </a:moveTo>
                  <a:lnTo>
                    <a:pt x="488430" y="253800"/>
                  </a:lnTo>
                  <a:cubicBezTo>
                    <a:pt x="482797" y="134939"/>
                    <a:pt x="386260" y="40641"/>
                    <a:pt x="267300" y="37800"/>
                  </a:cubicBezTo>
                  <a:lnTo>
                    <a:pt x="267300" y="8100"/>
                  </a:lnTo>
                  <a:cubicBezTo>
                    <a:pt x="267300" y="3626"/>
                    <a:pt x="263673" y="0"/>
                    <a:pt x="259200" y="0"/>
                  </a:cubicBezTo>
                  <a:cubicBezTo>
                    <a:pt x="254727" y="0"/>
                    <a:pt x="251100" y="3626"/>
                    <a:pt x="251100" y="8100"/>
                  </a:cubicBezTo>
                  <a:lnTo>
                    <a:pt x="251100" y="38070"/>
                  </a:lnTo>
                  <a:cubicBezTo>
                    <a:pt x="134396" y="43766"/>
                    <a:pt x="41066" y="137096"/>
                    <a:pt x="35370" y="253800"/>
                  </a:cubicBezTo>
                  <a:lnTo>
                    <a:pt x="8100" y="253800"/>
                  </a:lnTo>
                  <a:cubicBezTo>
                    <a:pt x="3626" y="253800"/>
                    <a:pt x="0" y="257427"/>
                    <a:pt x="0" y="261900"/>
                  </a:cubicBezTo>
                  <a:cubicBezTo>
                    <a:pt x="0" y="266373"/>
                    <a:pt x="3626" y="270000"/>
                    <a:pt x="8100" y="270000"/>
                  </a:cubicBezTo>
                  <a:lnTo>
                    <a:pt x="35100" y="270000"/>
                  </a:lnTo>
                  <a:cubicBezTo>
                    <a:pt x="37941" y="388960"/>
                    <a:pt x="132239" y="485498"/>
                    <a:pt x="251100" y="491130"/>
                  </a:cubicBezTo>
                  <a:lnTo>
                    <a:pt x="251100" y="521100"/>
                  </a:lnTo>
                  <a:cubicBezTo>
                    <a:pt x="251100" y="525573"/>
                    <a:pt x="254727" y="529200"/>
                    <a:pt x="259200" y="529200"/>
                  </a:cubicBezTo>
                  <a:cubicBezTo>
                    <a:pt x="263673" y="529200"/>
                    <a:pt x="267300" y="525573"/>
                    <a:pt x="267300" y="521100"/>
                  </a:cubicBezTo>
                  <a:lnTo>
                    <a:pt x="267300" y="491400"/>
                  </a:lnTo>
                  <a:cubicBezTo>
                    <a:pt x="388376" y="488550"/>
                    <a:pt x="485850" y="391076"/>
                    <a:pt x="488700" y="270000"/>
                  </a:cubicBezTo>
                  <a:lnTo>
                    <a:pt x="515700" y="270000"/>
                  </a:lnTo>
                  <a:cubicBezTo>
                    <a:pt x="520173" y="270000"/>
                    <a:pt x="523800" y="266373"/>
                    <a:pt x="523800" y="261900"/>
                  </a:cubicBezTo>
                  <a:cubicBezTo>
                    <a:pt x="523800" y="257427"/>
                    <a:pt x="520173" y="253800"/>
                    <a:pt x="515700" y="253800"/>
                  </a:cubicBezTo>
                  <a:close/>
                  <a:moveTo>
                    <a:pt x="267300" y="475200"/>
                  </a:moveTo>
                  <a:lnTo>
                    <a:pt x="267300" y="450900"/>
                  </a:lnTo>
                  <a:cubicBezTo>
                    <a:pt x="267300" y="446427"/>
                    <a:pt x="263673" y="442800"/>
                    <a:pt x="259200" y="442800"/>
                  </a:cubicBezTo>
                  <a:cubicBezTo>
                    <a:pt x="254727" y="442800"/>
                    <a:pt x="251100" y="446427"/>
                    <a:pt x="251100" y="450900"/>
                  </a:cubicBezTo>
                  <a:lnTo>
                    <a:pt x="251100" y="474930"/>
                  </a:lnTo>
                  <a:cubicBezTo>
                    <a:pt x="141183" y="469322"/>
                    <a:pt x="54120" y="380024"/>
                    <a:pt x="51300" y="270000"/>
                  </a:cubicBezTo>
                  <a:lnTo>
                    <a:pt x="78300" y="270000"/>
                  </a:lnTo>
                  <a:cubicBezTo>
                    <a:pt x="82773" y="270000"/>
                    <a:pt x="86400" y="266373"/>
                    <a:pt x="86400" y="261900"/>
                  </a:cubicBezTo>
                  <a:cubicBezTo>
                    <a:pt x="86400" y="257427"/>
                    <a:pt x="82773" y="253800"/>
                    <a:pt x="78300" y="253800"/>
                  </a:cubicBezTo>
                  <a:lnTo>
                    <a:pt x="51570" y="253800"/>
                  </a:lnTo>
                  <a:cubicBezTo>
                    <a:pt x="57250" y="146043"/>
                    <a:pt x="143343" y="59950"/>
                    <a:pt x="251100" y="54270"/>
                  </a:cubicBezTo>
                  <a:lnTo>
                    <a:pt x="251100" y="78300"/>
                  </a:lnTo>
                  <a:cubicBezTo>
                    <a:pt x="251100" y="82773"/>
                    <a:pt x="254727" y="86400"/>
                    <a:pt x="259200" y="86400"/>
                  </a:cubicBezTo>
                  <a:cubicBezTo>
                    <a:pt x="263673" y="86400"/>
                    <a:pt x="267300" y="82773"/>
                    <a:pt x="267300" y="78300"/>
                  </a:cubicBezTo>
                  <a:lnTo>
                    <a:pt x="267300" y="54000"/>
                  </a:lnTo>
                  <a:cubicBezTo>
                    <a:pt x="377324" y="56820"/>
                    <a:pt x="466622" y="143883"/>
                    <a:pt x="472230" y="253800"/>
                  </a:cubicBezTo>
                  <a:lnTo>
                    <a:pt x="445500" y="253800"/>
                  </a:lnTo>
                  <a:cubicBezTo>
                    <a:pt x="441027" y="253800"/>
                    <a:pt x="437400" y="257427"/>
                    <a:pt x="437400" y="261900"/>
                  </a:cubicBezTo>
                  <a:cubicBezTo>
                    <a:pt x="437400" y="266373"/>
                    <a:pt x="441027" y="270000"/>
                    <a:pt x="445500" y="270000"/>
                  </a:cubicBezTo>
                  <a:lnTo>
                    <a:pt x="472500" y="270000"/>
                  </a:lnTo>
                  <a:cubicBezTo>
                    <a:pt x="469660" y="382132"/>
                    <a:pt x="379432" y="472360"/>
                    <a:pt x="267300" y="475200"/>
                  </a:cubicBezTo>
                  <a:close/>
                </a:path>
              </a:pathLst>
            </a:custGeom>
            <a:grpFill/>
            <a:ln w="5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6" name="Рисунок 208">
            <a:extLst>
              <a:ext uri="{FF2B5EF4-FFF2-40B4-BE49-F238E27FC236}">
                <a16:creationId xmlns:a16="http://schemas.microsoft.com/office/drawing/2014/main" id="{51460B7F-D6D9-4441-A288-D31468748D12}"/>
              </a:ext>
            </a:extLst>
          </p:cNvPr>
          <p:cNvSpPr/>
          <p:nvPr/>
        </p:nvSpPr>
        <p:spPr>
          <a:xfrm>
            <a:off x="1270557" y="5061725"/>
            <a:ext cx="362862" cy="284188"/>
          </a:xfrm>
          <a:custGeom>
            <a:avLst/>
            <a:gdLst>
              <a:gd name="connsiteX0" fmla="*/ 446402 w 454501"/>
              <a:gd name="connsiteY0" fmla="*/ 304069 h 411053"/>
              <a:gd name="connsiteX1" fmla="*/ 360747 w 454501"/>
              <a:gd name="connsiteY1" fmla="*/ 304069 h 411053"/>
              <a:gd name="connsiteX2" fmla="*/ 360747 w 454501"/>
              <a:gd name="connsiteY2" fmla="*/ 238167 h 411053"/>
              <a:gd name="connsiteX3" fmla="*/ 445100 w 454501"/>
              <a:gd name="connsiteY3" fmla="*/ 238167 h 411053"/>
              <a:gd name="connsiteX4" fmla="*/ 453200 w 454501"/>
              <a:gd name="connsiteY4" fmla="*/ 230067 h 411053"/>
              <a:gd name="connsiteX5" fmla="*/ 453200 w 454501"/>
              <a:gd name="connsiteY5" fmla="*/ 139288 h 411053"/>
              <a:gd name="connsiteX6" fmla="*/ 445100 w 454501"/>
              <a:gd name="connsiteY6" fmla="*/ 131188 h 411053"/>
              <a:gd name="connsiteX7" fmla="*/ 361573 w 454501"/>
              <a:gd name="connsiteY7" fmla="*/ 131188 h 411053"/>
              <a:gd name="connsiteX8" fmla="*/ 361573 w 454501"/>
              <a:gd name="connsiteY8" fmla="*/ 53492 h 411053"/>
              <a:gd name="connsiteX9" fmla="*/ 353473 w 454501"/>
              <a:gd name="connsiteY9" fmla="*/ 45392 h 411053"/>
              <a:gd name="connsiteX10" fmla="*/ 140621 w 454501"/>
              <a:gd name="connsiteY10" fmla="*/ 45392 h 411053"/>
              <a:gd name="connsiteX11" fmla="*/ 140621 w 454501"/>
              <a:gd name="connsiteY11" fmla="*/ 8100 h 411053"/>
              <a:gd name="connsiteX12" fmla="*/ 132521 w 454501"/>
              <a:gd name="connsiteY12" fmla="*/ 0 h 411053"/>
              <a:gd name="connsiteX13" fmla="*/ 8100 w 454501"/>
              <a:gd name="connsiteY13" fmla="*/ 0 h 411053"/>
              <a:gd name="connsiteX14" fmla="*/ 0 w 454501"/>
              <a:gd name="connsiteY14" fmla="*/ 8100 h 411053"/>
              <a:gd name="connsiteX15" fmla="*/ 0 w 454501"/>
              <a:gd name="connsiteY15" fmla="*/ 98885 h 411053"/>
              <a:gd name="connsiteX16" fmla="*/ 8100 w 454501"/>
              <a:gd name="connsiteY16" fmla="*/ 106985 h 411053"/>
              <a:gd name="connsiteX17" fmla="*/ 62208 w 454501"/>
              <a:gd name="connsiteY17" fmla="*/ 106985 h 411053"/>
              <a:gd name="connsiteX18" fmla="*/ 62208 w 454501"/>
              <a:gd name="connsiteY18" fmla="*/ 159559 h 411053"/>
              <a:gd name="connsiteX19" fmla="*/ 63893 w 454501"/>
              <a:gd name="connsiteY19" fmla="*/ 250187 h 411053"/>
              <a:gd name="connsiteX20" fmla="*/ 63893 w 454501"/>
              <a:gd name="connsiteY20" fmla="*/ 302611 h 411053"/>
              <a:gd name="connsiteX21" fmla="*/ 9790 w 454501"/>
              <a:gd name="connsiteY21" fmla="*/ 302611 h 411053"/>
              <a:gd name="connsiteX22" fmla="*/ 1690 w 454501"/>
              <a:gd name="connsiteY22" fmla="*/ 310711 h 411053"/>
              <a:gd name="connsiteX23" fmla="*/ 1690 w 454501"/>
              <a:gd name="connsiteY23" fmla="*/ 401495 h 411053"/>
              <a:gd name="connsiteX24" fmla="*/ 9790 w 454501"/>
              <a:gd name="connsiteY24" fmla="*/ 409595 h 411053"/>
              <a:gd name="connsiteX25" fmla="*/ 134212 w 454501"/>
              <a:gd name="connsiteY25" fmla="*/ 409595 h 411053"/>
              <a:gd name="connsiteX26" fmla="*/ 142312 w 454501"/>
              <a:gd name="connsiteY26" fmla="*/ 401495 h 411053"/>
              <a:gd name="connsiteX27" fmla="*/ 142312 w 454501"/>
              <a:gd name="connsiteY27" fmla="*/ 310711 h 411053"/>
              <a:gd name="connsiteX28" fmla="*/ 134212 w 454501"/>
              <a:gd name="connsiteY28" fmla="*/ 302611 h 411053"/>
              <a:gd name="connsiteX29" fmla="*/ 80098 w 454501"/>
              <a:gd name="connsiteY29" fmla="*/ 302611 h 411053"/>
              <a:gd name="connsiteX30" fmla="*/ 80098 w 454501"/>
              <a:gd name="connsiteY30" fmla="*/ 250036 h 411053"/>
              <a:gd name="connsiteX31" fmla="*/ 78413 w 454501"/>
              <a:gd name="connsiteY31" fmla="*/ 159408 h 411053"/>
              <a:gd name="connsiteX32" fmla="*/ 78413 w 454501"/>
              <a:gd name="connsiteY32" fmla="*/ 106985 h 411053"/>
              <a:gd name="connsiteX33" fmla="*/ 132527 w 454501"/>
              <a:gd name="connsiteY33" fmla="*/ 106985 h 411053"/>
              <a:gd name="connsiteX34" fmla="*/ 140627 w 454501"/>
              <a:gd name="connsiteY34" fmla="*/ 98885 h 411053"/>
              <a:gd name="connsiteX35" fmla="*/ 140627 w 454501"/>
              <a:gd name="connsiteY35" fmla="*/ 61592 h 411053"/>
              <a:gd name="connsiteX36" fmla="*/ 345379 w 454501"/>
              <a:gd name="connsiteY36" fmla="*/ 61592 h 411053"/>
              <a:gd name="connsiteX37" fmla="*/ 345379 w 454501"/>
              <a:gd name="connsiteY37" fmla="*/ 131188 h 411053"/>
              <a:gd name="connsiteX38" fmla="*/ 204881 w 454501"/>
              <a:gd name="connsiteY38" fmla="*/ 131188 h 411053"/>
              <a:gd name="connsiteX39" fmla="*/ 196781 w 454501"/>
              <a:gd name="connsiteY39" fmla="*/ 139288 h 411053"/>
              <a:gd name="connsiteX40" fmla="*/ 196781 w 454501"/>
              <a:gd name="connsiteY40" fmla="*/ 230067 h 411053"/>
              <a:gd name="connsiteX41" fmla="*/ 204881 w 454501"/>
              <a:gd name="connsiteY41" fmla="*/ 238167 h 411053"/>
              <a:gd name="connsiteX42" fmla="*/ 344547 w 454501"/>
              <a:gd name="connsiteY42" fmla="*/ 238167 h 411053"/>
              <a:gd name="connsiteX43" fmla="*/ 344547 w 454501"/>
              <a:gd name="connsiteY43" fmla="*/ 304069 h 411053"/>
              <a:gd name="connsiteX44" fmla="*/ 203720 w 454501"/>
              <a:gd name="connsiteY44" fmla="*/ 304069 h 411053"/>
              <a:gd name="connsiteX45" fmla="*/ 195620 w 454501"/>
              <a:gd name="connsiteY45" fmla="*/ 312169 h 411053"/>
              <a:gd name="connsiteX46" fmla="*/ 195620 w 454501"/>
              <a:gd name="connsiteY46" fmla="*/ 402953 h 411053"/>
              <a:gd name="connsiteX47" fmla="*/ 203720 w 454501"/>
              <a:gd name="connsiteY47" fmla="*/ 411053 h 411053"/>
              <a:gd name="connsiteX48" fmla="*/ 446402 w 454501"/>
              <a:gd name="connsiteY48" fmla="*/ 411053 h 411053"/>
              <a:gd name="connsiteX49" fmla="*/ 454502 w 454501"/>
              <a:gd name="connsiteY49" fmla="*/ 402953 h 411053"/>
              <a:gd name="connsiteX50" fmla="*/ 454502 w 454501"/>
              <a:gd name="connsiteY50" fmla="*/ 312169 h 411053"/>
              <a:gd name="connsiteX51" fmla="*/ 446402 w 454501"/>
              <a:gd name="connsiteY51" fmla="*/ 304069 h 411053"/>
              <a:gd name="connsiteX52" fmla="*/ 126112 w 454501"/>
              <a:gd name="connsiteY52" fmla="*/ 393395 h 411053"/>
              <a:gd name="connsiteX53" fmla="*/ 17890 w 454501"/>
              <a:gd name="connsiteY53" fmla="*/ 393395 h 411053"/>
              <a:gd name="connsiteX54" fmla="*/ 17890 w 454501"/>
              <a:gd name="connsiteY54" fmla="*/ 318811 h 411053"/>
              <a:gd name="connsiteX55" fmla="*/ 126112 w 454501"/>
              <a:gd name="connsiteY55" fmla="*/ 318811 h 411053"/>
              <a:gd name="connsiteX56" fmla="*/ 126112 w 454501"/>
              <a:gd name="connsiteY56" fmla="*/ 393395 h 411053"/>
              <a:gd name="connsiteX57" fmla="*/ 124421 w 454501"/>
              <a:gd name="connsiteY57" fmla="*/ 90785 h 411053"/>
              <a:gd name="connsiteX58" fmla="*/ 16200 w 454501"/>
              <a:gd name="connsiteY58" fmla="*/ 90785 h 411053"/>
              <a:gd name="connsiteX59" fmla="*/ 16200 w 454501"/>
              <a:gd name="connsiteY59" fmla="*/ 16200 h 411053"/>
              <a:gd name="connsiteX60" fmla="*/ 124421 w 454501"/>
              <a:gd name="connsiteY60" fmla="*/ 16200 h 411053"/>
              <a:gd name="connsiteX61" fmla="*/ 124421 w 454501"/>
              <a:gd name="connsiteY61" fmla="*/ 90785 h 411053"/>
              <a:gd name="connsiteX62" fmla="*/ 212981 w 454501"/>
              <a:gd name="connsiteY62" fmla="*/ 147388 h 411053"/>
              <a:gd name="connsiteX63" fmla="*/ 437000 w 454501"/>
              <a:gd name="connsiteY63" fmla="*/ 147388 h 411053"/>
              <a:gd name="connsiteX64" fmla="*/ 437000 w 454501"/>
              <a:gd name="connsiteY64" fmla="*/ 221967 h 411053"/>
              <a:gd name="connsiteX65" fmla="*/ 212981 w 454501"/>
              <a:gd name="connsiteY65" fmla="*/ 221967 h 411053"/>
              <a:gd name="connsiteX66" fmla="*/ 212981 w 454501"/>
              <a:gd name="connsiteY66" fmla="*/ 147388 h 411053"/>
              <a:gd name="connsiteX67" fmla="*/ 438302 w 454501"/>
              <a:gd name="connsiteY67" fmla="*/ 394853 h 411053"/>
              <a:gd name="connsiteX68" fmla="*/ 211820 w 454501"/>
              <a:gd name="connsiteY68" fmla="*/ 394853 h 411053"/>
              <a:gd name="connsiteX69" fmla="*/ 211820 w 454501"/>
              <a:gd name="connsiteY69" fmla="*/ 320269 h 411053"/>
              <a:gd name="connsiteX70" fmla="*/ 438302 w 454501"/>
              <a:gd name="connsiteY70" fmla="*/ 320269 h 411053"/>
              <a:gd name="connsiteX71" fmla="*/ 438302 w 454501"/>
              <a:gd name="connsiteY71" fmla="*/ 394853 h 411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454501" h="411053">
                <a:moveTo>
                  <a:pt x="446402" y="304069"/>
                </a:moveTo>
                <a:lnTo>
                  <a:pt x="360747" y="304069"/>
                </a:lnTo>
                <a:lnTo>
                  <a:pt x="360747" y="238167"/>
                </a:lnTo>
                <a:lnTo>
                  <a:pt x="445100" y="238167"/>
                </a:lnTo>
                <a:cubicBezTo>
                  <a:pt x="449572" y="238167"/>
                  <a:pt x="453200" y="234538"/>
                  <a:pt x="453200" y="230067"/>
                </a:cubicBezTo>
                <a:lnTo>
                  <a:pt x="453200" y="139288"/>
                </a:lnTo>
                <a:cubicBezTo>
                  <a:pt x="453200" y="134811"/>
                  <a:pt x="449572" y="131188"/>
                  <a:pt x="445100" y="131188"/>
                </a:cubicBezTo>
                <a:lnTo>
                  <a:pt x="361573" y="131188"/>
                </a:lnTo>
                <a:lnTo>
                  <a:pt x="361573" y="53492"/>
                </a:lnTo>
                <a:cubicBezTo>
                  <a:pt x="361573" y="49016"/>
                  <a:pt x="357944" y="45392"/>
                  <a:pt x="353473" y="45392"/>
                </a:cubicBezTo>
                <a:lnTo>
                  <a:pt x="140621" y="45392"/>
                </a:lnTo>
                <a:lnTo>
                  <a:pt x="140621" y="8100"/>
                </a:lnTo>
                <a:cubicBezTo>
                  <a:pt x="140621" y="3623"/>
                  <a:pt x="136998" y="0"/>
                  <a:pt x="132521" y="0"/>
                </a:cubicBezTo>
                <a:lnTo>
                  <a:pt x="8100" y="0"/>
                </a:lnTo>
                <a:cubicBezTo>
                  <a:pt x="3623" y="0"/>
                  <a:pt x="0" y="3623"/>
                  <a:pt x="0" y="8100"/>
                </a:cubicBezTo>
                <a:lnTo>
                  <a:pt x="0" y="98885"/>
                </a:lnTo>
                <a:cubicBezTo>
                  <a:pt x="0" y="103361"/>
                  <a:pt x="3623" y="106985"/>
                  <a:pt x="8100" y="106985"/>
                </a:cubicBezTo>
                <a:lnTo>
                  <a:pt x="62208" y="106985"/>
                </a:lnTo>
                <a:lnTo>
                  <a:pt x="62208" y="159559"/>
                </a:lnTo>
                <a:lnTo>
                  <a:pt x="63893" y="250187"/>
                </a:lnTo>
                <a:lnTo>
                  <a:pt x="63893" y="302611"/>
                </a:lnTo>
                <a:lnTo>
                  <a:pt x="9790" y="302611"/>
                </a:lnTo>
                <a:cubicBezTo>
                  <a:pt x="5314" y="302611"/>
                  <a:pt x="1690" y="306239"/>
                  <a:pt x="1690" y="310711"/>
                </a:cubicBezTo>
                <a:lnTo>
                  <a:pt x="1690" y="401495"/>
                </a:lnTo>
                <a:cubicBezTo>
                  <a:pt x="1690" y="405967"/>
                  <a:pt x="5314" y="409595"/>
                  <a:pt x="9790" y="409595"/>
                </a:cubicBezTo>
                <a:lnTo>
                  <a:pt x="134212" y="409595"/>
                </a:lnTo>
                <a:cubicBezTo>
                  <a:pt x="138688" y="409595"/>
                  <a:pt x="142312" y="405967"/>
                  <a:pt x="142312" y="401495"/>
                </a:cubicBezTo>
                <a:lnTo>
                  <a:pt x="142312" y="310711"/>
                </a:lnTo>
                <a:cubicBezTo>
                  <a:pt x="142312" y="306239"/>
                  <a:pt x="138688" y="302611"/>
                  <a:pt x="134212" y="302611"/>
                </a:cubicBezTo>
                <a:lnTo>
                  <a:pt x="80098" y="302611"/>
                </a:lnTo>
                <a:lnTo>
                  <a:pt x="80098" y="250036"/>
                </a:lnTo>
                <a:lnTo>
                  <a:pt x="78413" y="159408"/>
                </a:lnTo>
                <a:lnTo>
                  <a:pt x="78413" y="106985"/>
                </a:lnTo>
                <a:lnTo>
                  <a:pt x="132527" y="106985"/>
                </a:lnTo>
                <a:cubicBezTo>
                  <a:pt x="137003" y="106985"/>
                  <a:pt x="140627" y="103361"/>
                  <a:pt x="140627" y="98885"/>
                </a:cubicBezTo>
                <a:lnTo>
                  <a:pt x="140627" y="61592"/>
                </a:lnTo>
                <a:lnTo>
                  <a:pt x="345379" y="61592"/>
                </a:lnTo>
                <a:lnTo>
                  <a:pt x="345379" y="131188"/>
                </a:lnTo>
                <a:lnTo>
                  <a:pt x="204881" y="131188"/>
                </a:lnTo>
                <a:cubicBezTo>
                  <a:pt x="200405" y="131188"/>
                  <a:pt x="196781" y="134811"/>
                  <a:pt x="196781" y="139288"/>
                </a:cubicBezTo>
                <a:lnTo>
                  <a:pt x="196781" y="230067"/>
                </a:lnTo>
                <a:cubicBezTo>
                  <a:pt x="196781" y="234538"/>
                  <a:pt x="200405" y="238167"/>
                  <a:pt x="204881" y="238167"/>
                </a:cubicBezTo>
                <a:lnTo>
                  <a:pt x="344547" y="238167"/>
                </a:lnTo>
                <a:lnTo>
                  <a:pt x="344547" y="304069"/>
                </a:lnTo>
                <a:lnTo>
                  <a:pt x="203720" y="304069"/>
                </a:lnTo>
                <a:cubicBezTo>
                  <a:pt x="199244" y="304069"/>
                  <a:pt x="195620" y="307697"/>
                  <a:pt x="195620" y="312169"/>
                </a:cubicBezTo>
                <a:lnTo>
                  <a:pt x="195620" y="402953"/>
                </a:lnTo>
                <a:cubicBezTo>
                  <a:pt x="195620" y="407425"/>
                  <a:pt x="199244" y="411053"/>
                  <a:pt x="203720" y="411053"/>
                </a:cubicBezTo>
                <a:lnTo>
                  <a:pt x="446402" y="411053"/>
                </a:lnTo>
                <a:cubicBezTo>
                  <a:pt x="450873" y="411053"/>
                  <a:pt x="454502" y="407425"/>
                  <a:pt x="454502" y="402953"/>
                </a:cubicBezTo>
                <a:lnTo>
                  <a:pt x="454502" y="312169"/>
                </a:lnTo>
                <a:cubicBezTo>
                  <a:pt x="454502" y="307697"/>
                  <a:pt x="450873" y="304069"/>
                  <a:pt x="446402" y="304069"/>
                </a:cubicBezTo>
                <a:close/>
                <a:moveTo>
                  <a:pt x="126112" y="393395"/>
                </a:moveTo>
                <a:lnTo>
                  <a:pt x="17890" y="393395"/>
                </a:lnTo>
                <a:lnTo>
                  <a:pt x="17890" y="318811"/>
                </a:lnTo>
                <a:lnTo>
                  <a:pt x="126112" y="318811"/>
                </a:lnTo>
                <a:lnTo>
                  <a:pt x="126112" y="393395"/>
                </a:lnTo>
                <a:close/>
                <a:moveTo>
                  <a:pt x="124421" y="90785"/>
                </a:moveTo>
                <a:lnTo>
                  <a:pt x="16200" y="90785"/>
                </a:lnTo>
                <a:lnTo>
                  <a:pt x="16200" y="16200"/>
                </a:lnTo>
                <a:lnTo>
                  <a:pt x="124421" y="16200"/>
                </a:lnTo>
                <a:lnTo>
                  <a:pt x="124421" y="90785"/>
                </a:lnTo>
                <a:close/>
                <a:moveTo>
                  <a:pt x="212981" y="147388"/>
                </a:moveTo>
                <a:lnTo>
                  <a:pt x="437000" y="147388"/>
                </a:lnTo>
                <a:lnTo>
                  <a:pt x="437000" y="221967"/>
                </a:lnTo>
                <a:lnTo>
                  <a:pt x="212981" y="221967"/>
                </a:lnTo>
                <a:lnTo>
                  <a:pt x="212981" y="147388"/>
                </a:lnTo>
                <a:close/>
                <a:moveTo>
                  <a:pt x="438302" y="394853"/>
                </a:moveTo>
                <a:lnTo>
                  <a:pt x="211820" y="394853"/>
                </a:lnTo>
                <a:lnTo>
                  <a:pt x="211820" y="320269"/>
                </a:lnTo>
                <a:lnTo>
                  <a:pt x="438302" y="320269"/>
                </a:lnTo>
                <a:lnTo>
                  <a:pt x="438302" y="394853"/>
                </a:lnTo>
                <a:close/>
              </a:path>
            </a:pathLst>
          </a:custGeom>
          <a:solidFill>
            <a:schemeClr val="accent1"/>
          </a:solidFill>
          <a:ln w="533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7" name="Graphic 43">
            <a:extLst>
              <a:ext uri="{FF2B5EF4-FFF2-40B4-BE49-F238E27FC236}">
                <a16:creationId xmlns:a16="http://schemas.microsoft.com/office/drawing/2014/main" id="{F5FA2002-6502-4B18-8727-CB5C65D89E57}"/>
              </a:ext>
            </a:extLst>
          </p:cNvPr>
          <p:cNvSpPr/>
          <p:nvPr/>
        </p:nvSpPr>
        <p:spPr>
          <a:xfrm>
            <a:off x="1241520" y="2960829"/>
            <a:ext cx="391899" cy="383957"/>
          </a:xfrm>
          <a:custGeom>
            <a:avLst/>
            <a:gdLst>
              <a:gd name="connsiteX0" fmla="*/ 401527 w 438418"/>
              <a:gd name="connsiteY0" fmla="*/ 340574 h 438415"/>
              <a:gd name="connsiteX1" fmla="*/ 438418 w 438418"/>
              <a:gd name="connsiteY1" fmla="*/ 219208 h 438415"/>
              <a:gd name="connsiteX2" fmla="*/ 219209 w 438418"/>
              <a:gd name="connsiteY2" fmla="*/ 0 h 438415"/>
              <a:gd name="connsiteX3" fmla="*/ 0 w 438418"/>
              <a:gd name="connsiteY3" fmla="*/ 219208 h 438415"/>
              <a:gd name="connsiteX4" fmla="*/ 219209 w 438418"/>
              <a:gd name="connsiteY4" fmla="*/ 438416 h 438415"/>
              <a:gd name="connsiteX5" fmla="*/ 398319 w 438418"/>
              <a:gd name="connsiteY5" fmla="*/ 345386 h 438415"/>
              <a:gd name="connsiteX6" fmla="*/ 399388 w 438418"/>
              <a:gd name="connsiteY6" fmla="*/ 344317 h 438415"/>
              <a:gd name="connsiteX7" fmla="*/ 401527 w 438418"/>
              <a:gd name="connsiteY7" fmla="*/ 340574 h 438415"/>
              <a:gd name="connsiteX8" fmla="*/ 422379 w 438418"/>
              <a:gd name="connsiteY8" fmla="*/ 219208 h 438415"/>
              <a:gd name="connsiteX9" fmla="*/ 412220 w 438418"/>
              <a:gd name="connsiteY9" fmla="*/ 282832 h 438415"/>
              <a:gd name="connsiteX10" fmla="*/ 400458 w 438418"/>
              <a:gd name="connsiteY10" fmla="*/ 230970 h 438415"/>
              <a:gd name="connsiteX11" fmla="*/ 368913 w 438418"/>
              <a:gd name="connsiteY11" fmla="*/ 220812 h 438415"/>
              <a:gd name="connsiteX12" fmla="*/ 327744 w 438418"/>
              <a:gd name="connsiteY12" fmla="*/ 191406 h 438415"/>
              <a:gd name="connsiteX13" fmla="*/ 346457 w 438418"/>
              <a:gd name="connsiteY13" fmla="*/ 143822 h 438415"/>
              <a:gd name="connsiteX14" fmla="*/ 365705 w 438418"/>
              <a:gd name="connsiteY14" fmla="*/ 98911 h 438415"/>
              <a:gd name="connsiteX15" fmla="*/ 321863 w 438418"/>
              <a:gd name="connsiteY15" fmla="*/ 78594 h 438415"/>
              <a:gd name="connsiteX16" fmla="*/ 296734 w 438418"/>
              <a:gd name="connsiteY16" fmla="*/ 73782 h 438415"/>
              <a:gd name="connsiteX17" fmla="*/ 266794 w 438418"/>
              <a:gd name="connsiteY17" fmla="*/ 35287 h 438415"/>
              <a:gd name="connsiteX18" fmla="*/ 257704 w 438418"/>
              <a:gd name="connsiteY18" fmla="*/ 19782 h 438415"/>
              <a:gd name="connsiteX19" fmla="*/ 422379 w 438418"/>
              <a:gd name="connsiteY19" fmla="*/ 219208 h 438415"/>
              <a:gd name="connsiteX20" fmla="*/ 162536 w 438418"/>
              <a:gd name="connsiteY20" fmla="*/ 24059 h 438415"/>
              <a:gd name="connsiteX21" fmla="*/ 163070 w 438418"/>
              <a:gd name="connsiteY21" fmla="*/ 24594 h 438415"/>
              <a:gd name="connsiteX22" fmla="*/ 202635 w 438418"/>
              <a:gd name="connsiteY22" fmla="*/ 93030 h 438415"/>
              <a:gd name="connsiteX23" fmla="*/ 167882 w 438418"/>
              <a:gd name="connsiteY23" fmla="*/ 117089 h 438415"/>
              <a:gd name="connsiteX24" fmla="*/ 116020 w 438418"/>
              <a:gd name="connsiteY24" fmla="*/ 159861 h 438415"/>
              <a:gd name="connsiteX25" fmla="*/ 136337 w 438418"/>
              <a:gd name="connsiteY25" fmla="*/ 209584 h 438415"/>
              <a:gd name="connsiteX26" fmla="*/ 230437 w 438418"/>
              <a:gd name="connsiteY26" fmla="*/ 270535 h 438415"/>
              <a:gd name="connsiteX27" fmla="*/ 267863 w 438418"/>
              <a:gd name="connsiteY27" fmla="*/ 295129 h 438415"/>
              <a:gd name="connsiteX28" fmla="*/ 250219 w 438418"/>
              <a:gd name="connsiteY28" fmla="*/ 338970 h 438415"/>
              <a:gd name="connsiteX29" fmla="*/ 202635 w 438418"/>
              <a:gd name="connsiteY29" fmla="*/ 422376 h 438415"/>
              <a:gd name="connsiteX30" fmla="*/ 163605 w 438418"/>
              <a:gd name="connsiteY30" fmla="*/ 415426 h 438415"/>
              <a:gd name="connsiteX31" fmla="*/ 118159 w 438418"/>
              <a:gd name="connsiteY31" fmla="*/ 314911 h 438415"/>
              <a:gd name="connsiteX32" fmla="*/ 102654 w 438418"/>
              <a:gd name="connsiteY32" fmla="*/ 300475 h 438415"/>
              <a:gd name="connsiteX33" fmla="*/ 111209 w 438418"/>
              <a:gd name="connsiteY33" fmla="*/ 276951 h 438415"/>
              <a:gd name="connsiteX34" fmla="*/ 122436 w 438418"/>
              <a:gd name="connsiteY34" fmla="*/ 231505 h 438415"/>
              <a:gd name="connsiteX35" fmla="*/ 89288 w 438418"/>
              <a:gd name="connsiteY35" fmla="*/ 205842 h 438415"/>
              <a:gd name="connsiteX36" fmla="*/ 36891 w 438418"/>
              <a:gd name="connsiteY36" fmla="*/ 128851 h 438415"/>
              <a:gd name="connsiteX37" fmla="*/ 36891 w 438418"/>
              <a:gd name="connsiteY37" fmla="*/ 128317 h 438415"/>
              <a:gd name="connsiteX38" fmla="*/ 162536 w 438418"/>
              <a:gd name="connsiteY38" fmla="*/ 24059 h 438415"/>
              <a:gd name="connsiteX39" fmla="*/ 16040 w 438418"/>
              <a:gd name="connsiteY39" fmla="*/ 219208 h 438415"/>
              <a:gd name="connsiteX40" fmla="*/ 24594 w 438418"/>
              <a:gd name="connsiteY40" fmla="*/ 160931 h 438415"/>
              <a:gd name="connsiteX41" fmla="*/ 85010 w 438418"/>
              <a:gd name="connsiteY41" fmla="*/ 220812 h 438415"/>
              <a:gd name="connsiteX42" fmla="*/ 108535 w 438418"/>
              <a:gd name="connsiteY42" fmla="*/ 236851 h 438415"/>
              <a:gd name="connsiteX43" fmla="*/ 98377 w 438418"/>
              <a:gd name="connsiteY43" fmla="*/ 268931 h 438415"/>
              <a:gd name="connsiteX44" fmla="*/ 89822 w 438418"/>
              <a:gd name="connsiteY44" fmla="*/ 309030 h 438415"/>
              <a:gd name="connsiteX45" fmla="*/ 109070 w 438418"/>
              <a:gd name="connsiteY45" fmla="*/ 327743 h 438415"/>
              <a:gd name="connsiteX46" fmla="*/ 148100 w 438418"/>
              <a:gd name="connsiteY46" fmla="*/ 410079 h 438415"/>
              <a:gd name="connsiteX47" fmla="*/ 16040 w 438418"/>
              <a:gd name="connsiteY47" fmla="*/ 219208 h 438415"/>
              <a:gd name="connsiteX48" fmla="*/ 219209 w 438418"/>
              <a:gd name="connsiteY48" fmla="*/ 422376 h 438415"/>
              <a:gd name="connsiteX49" fmla="*/ 219209 w 438418"/>
              <a:gd name="connsiteY49" fmla="*/ 422376 h 438415"/>
              <a:gd name="connsiteX50" fmla="*/ 260912 w 438418"/>
              <a:gd name="connsiteY50" fmla="*/ 350198 h 438415"/>
              <a:gd name="connsiteX51" fmla="*/ 281764 w 438418"/>
              <a:gd name="connsiteY51" fmla="*/ 286574 h 438415"/>
              <a:gd name="connsiteX52" fmla="*/ 234714 w 438418"/>
              <a:gd name="connsiteY52" fmla="*/ 254495 h 438415"/>
              <a:gd name="connsiteX53" fmla="*/ 148100 w 438418"/>
              <a:gd name="connsiteY53" fmla="*/ 198356 h 438415"/>
              <a:gd name="connsiteX54" fmla="*/ 131525 w 438418"/>
              <a:gd name="connsiteY54" fmla="*/ 162535 h 438415"/>
              <a:gd name="connsiteX55" fmla="*/ 174298 w 438418"/>
              <a:gd name="connsiteY55" fmla="*/ 130990 h 438415"/>
              <a:gd name="connsiteX56" fmla="*/ 218674 w 438418"/>
              <a:gd name="connsiteY56" fmla="*/ 94634 h 438415"/>
              <a:gd name="connsiteX57" fmla="*/ 181249 w 438418"/>
              <a:gd name="connsiteY57" fmla="*/ 19248 h 438415"/>
              <a:gd name="connsiteX58" fmla="*/ 219209 w 438418"/>
              <a:gd name="connsiteY58" fmla="*/ 15505 h 438415"/>
              <a:gd name="connsiteX59" fmla="*/ 236318 w 438418"/>
              <a:gd name="connsiteY59" fmla="*/ 16040 h 438415"/>
              <a:gd name="connsiteX60" fmla="*/ 237387 w 438418"/>
              <a:gd name="connsiteY60" fmla="*/ 17109 h 438415"/>
              <a:gd name="connsiteX61" fmla="*/ 254496 w 438418"/>
              <a:gd name="connsiteY61" fmla="*/ 42238 h 438415"/>
              <a:gd name="connsiteX62" fmla="*/ 289249 w 438418"/>
              <a:gd name="connsiteY62" fmla="*/ 86079 h 438415"/>
              <a:gd name="connsiteX63" fmla="*/ 322933 w 438418"/>
              <a:gd name="connsiteY63" fmla="*/ 93030 h 438415"/>
              <a:gd name="connsiteX64" fmla="*/ 352339 w 438418"/>
              <a:gd name="connsiteY64" fmla="*/ 105327 h 438415"/>
              <a:gd name="connsiteX65" fmla="*/ 337903 w 438418"/>
              <a:gd name="connsiteY65" fmla="*/ 129386 h 438415"/>
              <a:gd name="connsiteX66" fmla="*/ 313309 w 438418"/>
              <a:gd name="connsiteY66" fmla="*/ 197287 h 438415"/>
              <a:gd name="connsiteX67" fmla="*/ 369982 w 438418"/>
              <a:gd name="connsiteY67" fmla="*/ 235782 h 438415"/>
              <a:gd name="connsiteX68" fmla="*/ 387626 w 438418"/>
              <a:gd name="connsiteY68" fmla="*/ 240059 h 438415"/>
              <a:gd name="connsiteX69" fmla="*/ 388695 w 438418"/>
              <a:gd name="connsiteY69" fmla="*/ 331485 h 438415"/>
              <a:gd name="connsiteX70" fmla="*/ 219209 w 438418"/>
              <a:gd name="connsiteY70" fmla="*/ 422376 h 438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438418" h="438415">
                <a:moveTo>
                  <a:pt x="401527" y="340574"/>
                </a:moveTo>
                <a:cubicBezTo>
                  <a:pt x="425052" y="305822"/>
                  <a:pt x="438418" y="264119"/>
                  <a:pt x="438418" y="219208"/>
                </a:cubicBezTo>
                <a:cubicBezTo>
                  <a:pt x="438418" y="98376"/>
                  <a:pt x="340042" y="0"/>
                  <a:pt x="219209" y="0"/>
                </a:cubicBezTo>
                <a:cubicBezTo>
                  <a:pt x="98377" y="0"/>
                  <a:pt x="0" y="98376"/>
                  <a:pt x="0" y="219208"/>
                </a:cubicBezTo>
                <a:cubicBezTo>
                  <a:pt x="0" y="340040"/>
                  <a:pt x="98377" y="438416"/>
                  <a:pt x="219209" y="438416"/>
                </a:cubicBezTo>
                <a:cubicBezTo>
                  <a:pt x="292992" y="438416"/>
                  <a:pt x="358220" y="401525"/>
                  <a:pt x="398319" y="345386"/>
                </a:cubicBezTo>
                <a:cubicBezTo>
                  <a:pt x="398854" y="344852"/>
                  <a:pt x="398854" y="344852"/>
                  <a:pt x="399388" y="344317"/>
                </a:cubicBezTo>
                <a:cubicBezTo>
                  <a:pt x="399923" y="343782"/>
                  <a:pt x="400992" y="342178"/>
                  <a:pt x="401527" y="340574"/>
                </a:cubicBezTo>
                <a:close/>
                <a:moveTo>
                  <a:pt x="422379" y="219208"/>
                </a:moveTo>
                <a:cubicBezTo>
                  <a:pt x="422379" y="241663"/>
                  <a:pt x="418636" y="263050"/>
                  <a:pt x="412220" y="282832"/>
                </a:cubicBezTo>
                <a:cubicBezTo>
                  <a:pt x="412755" y="262515"/>
                  <a:pt x="409547" y="242198"/>
                  <a:pt x="400458" y="230970"/>
                </a:cubicBezTo>
                <a:cubicBezTo>
                  <a:pt x="390834" y="219208"/>
                  <a:pt x="378537" y="219743"/>
                  <a:pt x="368913" y="220812"/>
                </a:cubicBezTo>
                <a:cubicBezTo>
                  <a:pt x="355547" y="221881"/>
                  <a:pt x="342715" y="222951"/>
                  <a:pt x="327744" y="191406"/>
                </a:cubicBezTo>
                <a:cubicBezTo>
                  <a:pt x="315982" y="166277"/>
                  <a:pt x="327210" y="156653"/>
                  <a:pt x="346457" y="143822"/>
                </a:cubicBezTo>
                <a:cubicBezTo>
                  <a:pt x="360358" y="134733"/>
                  <a:pt x="378537" y="121901"/>
                  <a:pt x="365705" y="98911"/>
                </a:cubicBezTo>
                <a:cubicBezTo>
                  <a:pt x="353943" y="78059"/>
                  <a:pt x="336299" y="78594"/>
                  <a:pt x="321863" y="78594"/>
                </a:cubicBezTo>
                <a:cubicBezTo>
                  <a:pt x="312774" y="78594"/>
                  <a:pt x="304220" y="78594"/>
                  <a:pt x="296734" y="73782"/>
                </a:cubicBezTo>
                <a:cubicBezTo>
                  <a:pt x="284972" y="66297"/>
                  <a:pt x="275883" y="50257"/>
                  <a:pt x="266794" y="35287"/>
                </a:cubicBezTo>
                <a:cubicBezTo>
                  <a:pt x="263586" y="29941"/>
                  <a:pt x="260378" y="24594"/>
                  <a:pt x="257704" y="19782"/>
                </a:cubicBezTo>
                <a:cubicBezTo>
                  <a:pt x="351804" y="38495"/>
                  <a:pt x="422379" y="120832"/>
                  <a:pt x="422379" y="219208"/>
                </a:cubicBezTo>
                <a:close/>
                <a:moveTo>
                  <a:pt x="162536" y="24059"/>
                </a:moveTo>
                <a:cubicBezTo>
                  <a:pt x="162536" y="24059"/>
                  <a:pt x="163070" y="24594"/>
                  <a:pt x="163070" y="24594"/>
                </a:cubicBezTo>
                <a:cubicBezTo>
                  <a:pt x="175367" y="34752"/>
                  <a:pt x="205843" y="66297"/>
                  <a:pt x="202635" y="93030"/>
                </a:cubicBezTo>
                <a:cubicBezTo>
                  <a:pt x="201565" y="102119"/>
                  <a:pt x="183387" y="109604"/>
                  <a:pt x="167882" y="117089"/>
                </a:cubicBezTo>
                <a:cubicBezTo>
                  <a:pt x="145961" y="126713"/>
                  <a:pt x="120832" y="137941"/>
                  <a:pt x="116020" y="159861"/>
                </a:cubicBezTo>
                <a:cubicBezTo>
                  <a:pt x="112813" y="174297"/>
                  <a:pt x="119228" y="190337"/>
                  <a:pt x="136337" y="209584"/>
                </a:cubicBezTo>
                <a:cubicBezTo>
                  <a:pt x="174833" y="253426"/>
                  <a:pt x="206912" y="263050"/>
                  <a:pt x="230437" y="270535"/>
                </a:cubicBezTo>
                <a:cubicBezTo>
                  <a:pt x="248081" y="275881"/>
                  <a:pt x="259843" y="279624"/>
                  <a:pt x="267863" y="295129"/>
                </a:cubicBezTo>
                <a:cubicBezTo>
                  <a:pt x="278021" y="313842"/>
                  <a:pt x="270536" y="321327"/>
                  <a:pt x="250219" y="338970"/>
                </a:cubicBezTo>
                <a:cubicBezTo>
                  <a:pt x="231506" y="355545"/>
                  <a:pt x="205843" y="378000"/>
                  <a:pt x="202635" y="422376"/>
                </a:cubicBezTo>
                <a:cubicBezTo>
                  <a:pt x="189268" y="421307"/>
                  <a:pt x="176437" y="419168"/>
                  <a:pt x="163605" y="415426"/>
                </a:cubicBezTo>
                <a:cubicBezTo>
                  <a:pt x="165744" y="351267"/>
                  <a:pt x="138476" y="330416"/>
                  <a:pt x="118159" y="314911"/>
                </a:cubicBezTo>
                <a:cubicBezTo>
                  <a:pt x="111743" y="310099"/>
                  <a:pt x="105862" y="305287"/>
                  <a:pt x="102654" y="300475"/>
                </a:cubicBezTo>
                <a:cubicBezTo>
                  <a:pt x="99981" y="296198"/>
                  <a:pt x="105862" y="286040"/>
                  <a:pt x="111209" y="276951"/>
                </a:cubicBezTo>
                <a:cubicBezTo>
                  <a:pt x="119228" y="263050"/>
                  <a:pt x="128318" y="247010"/>
                  <a:pt x="122436" y="231505"/>
                </a:cubicBezTo>
                <a:cubicBezTo>
                  <a:pt x="118159" y="220277"/>
                  <a:pt x="107466" y="212257"/>
                  <a:pt x="89288" y="205842"/>
                </a:cubicBezTo>
                <a:cubicBezTo>
                  <a:pt x="28337" y="185525"/>
                  <a:pt x="36357" y="130990"/>
                  <a:pt x="36891" y="128851"/>
                </a:cubicBezTo>
                <a:cubicBezTo>
                  <a:pt x="36891" y="128851"/>
                  <a:pt x="36891" y="128851"/>
                  <a:pt x="36891" y="128317"/>
                </a:cubicBezTo>
                <a:cubicBezTo>
                  <a:pt x="63089" y="78059"/>
                  <a:pt x="108001" y="40099"/>
                  <a:pt x="162536" y="24059"/>
                </a:cubicBezTo>
                <a:close/>
                <a:moveTo>
                  <a:pt x="16040" y="219208"/>
                </a:moveTo>
                <a:cubicBezTo>
                  <a:pt x="16040" y="198891"/>
                  <a:pt x="19248" y="179109"/>
                  <a:pt x="24594" y="160931"/>
                </a:cubicBezTo>
                <a:cubicBezTo>
                  <a:pt x="30475" y="182317"/>
                  <a:pt x="45980" y="207980"/>
                  <a:pt x="85010" y="220812"/>
                </a:cubicBezTo>
                <a:cubicBezTo>
                  <a:pt x="98377" y="225089"/>
                  <a:pt x="106397" y="230436"/>
                  <a:pt x="108535" y="236851"/>
                </a:cubicBezTo>
                <a:cubicBezTo>
                  <a:pt x="111743" y="245406"/>
                  <a:pt x="104793" y="257168"/>
                  <a:pt x="98377" y="268931"/>
                </a:cubicBezTo>
                <a:cubicBezTo>
                  <a:pt x="90357" y="282297"/>
                  <a:pt x="82337" y="296733"/>
                  <a:pt x="89822" y="309030"/>
                </a:cubicBezTo>
                <a:cubicBezTo>
                  <a:pt x="94100" y="316515"/>
                  <a:pt x="101585" y="321861"/>
                  <a:pt x="109070" y="327743"/>
                </a:cubicBezTo>
                <a:cubicBezTo>
                  <a:pt x="126714" y="341109"/>
                  <a:pt x="148634" y="357683"/>
                  <a:pt x="148100" y="410079"/>
                </a:cubicBezTo>
                <a:cubicBezTo>
                  <a:pt x="71109" y="380673"/>
                  <a:pt x="16040" y="306356"/>
                  <a:pt x="16040" y="219208"/>
                </a:cubicBezTo>
                <a:close/>
                <a:moveTo>
                  <a:pt x="219209" y="422376"/>
                </a:moveTo>
                <a:cubicBezTo>
                  <a:pt x="219209" y="422376"/>
                  <a:pt x="219209" y="422376"/>
                  <a:pt x="219209" y="422376"/>
                </a:cubicBezTo>
                <a:cubicBezTo>
                  <a:pt x="221882" y="384951"/>
                  <a:pt x="242734" y="366772"/>
                  <a:pt x="260912" y="350198"/>
                </a:cubicBezTo>
                <a:cubicBezTo>
                  <a:pt x="279091" y="334158"/>
                  <a:pt x="298338" y="317050"/>
                  <a:pt x="281764" y="286574"/>
                </a:cubicBezTo>
                <a:cubicBezTo>
                  <a:pt x="270002" y="265188"/>
                  <a:pt x="253962" y="260376"/>
                  <a:pt x="234714" y="254495"/>
                </a:cubicBezTo>
                <a:cubicBezTo>
                  <a:pt x="212259" y="247545"/>
                  <a:pt x="183922" y="238455"/>
                  <a:pt x="148100" y="198356"/>
                </a:cubicBezTo>
                <a:cubicBezTo>
                  <a:pt x="135268" y="183921"/>
                  <a:pt x="129387" y="171624"/>
                  <a:pt x="131525" y="162535"/>
                </a:cubicBezTo>
                <a:cubicBezTo>
                  <a:pt x="134733" y="148634"/>
                  <a:pt x="155585" y="139545"/>
                  <a:pt x="174298" y="130990"/>
                </a:cubicBezTo>
                <a:cubicBezTo>
                  <a:pt x="195684" y="121366"/>
                  <a:pt x="216536" y="112277"/>
                  <a:pt x="218674" y="94634"/>
                </a:cubicBezTo>
                <a:cubicBezTo>
                  <a:pt x="222417" y="63624"/>
                  <a:pt x="195150" y="32614"/>
                  <a:pt x="181249" y="19248"/>
                </a:cubicBezTo>
                <a:cubicBezTo>
                  <a:pt x="193546" y="17109"/>
                  <a:pt x="206377" y="15505"/>
                  <a:pt x="219209" y="15505"/>
                </a:cubicBezTo>
                <a:cubicBezTo>
                  <a:pt x="225090" y="15505"/>
                  <a:pt x="230972" y="16040"/>
                  <a:pt x="236318" y="16040"/>
                </a:cubicBezTo>
                <a:cubicBezTo>
                  <a:pt x="236853" y="16574"/>
                  <a:pt x="236853" y="17109"/>
                  <a:pt x="237387" y="17109"/>
                </a:cubicBezTo>
                <a:cubicBezTo>
                  <a:pt x="242734" y="22990"/>
                  <a:pt x="248615" y="32614"/>
                  <a:pt x="254496" y="42238"/>
                </a:cubicBezTo>
                <a:cubicBezTo>
                  <a:pt x="263586" y="58277"/>
                  <a:pt x="274279" y="76455"/>
                  <a:pt x="289249" y="86079"/>
                </a:cubicBezTo>
                <a:cubicBezTo>
                  <a:pt x="300477" y="93564"/>
                  <a:pt x="312239" y="93564"/>
                  <a:pt x="322933" y="93030"/>
                </a:cubicBezTo>
                <a:cubicBezTo>
                  <a:pt x="337903" y="93030"/>
                  <a:pt x="345923" y="93564"/>
                  <a:pt x="352339" y="105327"/>
                </a:cubicBezTo>
                <a:cubicBezTo>
                  <a:pt x="357685" y="114416"/>
                  <a:pt x="353943" y="118158"/>
                  <a:pt x="337903" y="129386"/>
                </a:cubicBezTo>
                <a:cubicBezTo>
                  <a:pt x="320794" y="140614"/>
                  <a:pt x="295665" y="158257"/>
                  <a:pt x="313309" y="197287"/>
                </a:cubicBezTo>
                <a:cubicBezTo>
                  <a:pt x="332556" y="238990"/>
                  <a:pt x="353943" y="237386"/>
                  <a:pt x="369982" y="235782"/>
                </a:cubicBezTo>
                <a:cubicBezTo>
                  <a:pt x="379071" y="235248"/>
                  <a:pt x="383349" y="234713"/>
                  <a:pt x="387626" y="240059"/>
                </a:cubicBezTo>
                <a:cubicBezTo>
                  <a:pt x="401527" y="258238"/>
                  <a:pt x="395646" y="315446"/>
                  <a:pt x="388695" y="331485"/>
                </a:cubicBezTo>
                <a:cubicBezTo>
                  <a:pt x="352339" y="386020"/>
                  <a:pt x="289784" y="422376"/>
                  <a:pt x="219209" y="422376"/>
                </a:cubicBezTo>
                <a:close/>
              </a:path>
            </a:pathLst>
          </a:custGeom>
          <a:solidFill>
            <a:schemeClr val="accent1"/>
          </a:solidFill>
          <a:ln w="5281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8" name="Рисунок 216">
            <a:extLst>
              <a:ext uri="{FF2B5EF4-FFF2-40B4-BE49-F238E27FC236}">
                <a16:creationId xmlns:a16="http://schemas.microsoft.com/office/drawing/2014/main" id="{377333EA-81A5-4E2E-9677-8BDEA119F960}"/>
              </a:ext>
            </a:extLst>
          </p:cNvPr>
          <p:cNvSpPr/>
          <p:nvPr/>
        </p:nvSpPr>
        <p:spPr>
          <a:xfrm>
            <a:off x="1239617" y="4332855"/>
            <a:ext cx="413124" cy="397667"/>
          </a:xfrm>
          <a:custGeom>
            <a:avLst/>
            <a:gdLst>
              <a:gd name="connsiteX0" fmla="*/ 390960 w 474120"/>
              <a:gd name="connsiteY0" fmla="*/ 153360 h 469799"/>
              <a:gd name="connsiteX1" fmla="*/ 390960 w 474120"/>
              <a:gd name="connsiteY1" fmla="*/ 138780 h 469799"/>
              <a:gd name="connsiteX2" fmla="*/ 421200 w 474120"/>
              <a:gd name="connsiteY2" fmla="*/ 86400 h 469799"/>
              <a:gd name="connsiteX3" fmla="*/ 421200 w 474120"/>
              <a:gd name="connsiteY3" fmla="*/ 60480 h 469799"/>
              <a:gd name="connsiteX4" fmla="*/ 360720 w 474120"/>
              <a:gd name="connsiteY4" fmla="*/ 0 h 469799"/>
              <a:gd name="connsiteX5" fmla="*/ 299700 w 474120"/>
              <a:gd name="connsiteY5" fmla="*/ 60480 h 469799"/>
              <a:gd name="connsiteX6" fmla="*/ 299700 w 474120"/>
              <a:gd name="connsiteY6" fmla="*/ 86400 h 469799"/>
              <a:gd name="connsiteX7" fmla="*/ 328860 w 474120"/>
              <a:gd name="connsiteY7" fmla="*/ 137700 h 469799"/>
              <a:gd name="connsiteX8" fmla="*/ 328860 w 474120"/>
              <a:gd name="connsiteY8" fmla="*/ 153360 h 469799"/>
              <a:gd name="connsiteX9" fmla="*/ 305640 w 474120"/>
              <a:gd name="connsiteY9" fmla="*/ 163080 h 469799"/>
              <a:gd name="connsiteX10" fmla="*/ 234360 w 474120"/>
              <a:gd name="connsiteY10" fmla="*/ 116100 h 469799"/>
              <a:gd name="connsiteX11" fmla="*/ 164160 w 474120"/>
              <a:gd name="connsiteY11" fmla="*/ 161460 h 469799"/>
              <a:gd name="connsiteX12" fmla="*/ 143100 w 474120"/>
              <a:gd name="connsiteY12" fmla="*/ 153360 h 469799"/>
              <a:gd name="connsiteX13" fmla="*/ 143100 w 474120"/>
              <a:gd name="connsiteY13" fmla="*/ 138780 h 469799"/>
              <a:gd name="connsiteX14" fmla="*/ 173340 w 474120"/>
              <a:gd name="connsiteY14" fmla="*/ 86400 h 469799"/>
              <a:gd name="connsiteX15" fmla="*/ 173340 w 474120"/>
              <a:gd name="connsiteY15" fmla="*/ 60480 h 469799"/>
              <a:gd name="connsiteX16" fmla="*/ 112860 w 474120"/>
              <a:gd name="connsiteY16" fmla="*/ 0 h 469799"/>
              <a:gd name="connsiteX17" fmla="*/ 52380 w 474120"/>
              <a:gd name="connsiteY17" fmla="*/ 60480 h 469799"/>
              <a:gd name="connsiteX18" fmla="*/ 52380 w 474120"/>
              <a:gd name="connsiteY18" fmla="*/ 86400 h 469799"/>
              <a:gd name="connsiteX19" fmla="*/ 81540 w 474120"/>
              <a:gd name="connsiteY19" fmla="*/ 137700 h 469799"/>
              <a:gd name="connsiteX20" fmla="*/ 81540 w 474120"/>
              <a:gd name="connsiteY20" fmla="*/ 153360 h 469799"/>
              <a:gd name="connsiteX21" fmla="*/ 0 w 474120"/>
              <a:gd name="connsiteY21" fmla="*/ 261900 h 469799"/>
              <a:gd name="connsiteX22" fmla="*/ 8100 w 474120"/>
              <a:gd name="connsiteY22" fmla="*/ 270000 h 469799"/>
              <a:gd name="connsiteX23" fmla="*/ 167940 w 474120"/>
              <a:gd name="connsiteY23" fmla="*/ 270000 h 469799"/>
              <a:gd name="connsiteX24" fmla="*/ 169560 w 474120"/>
              <a:gd name="connsiteY24" fmla="*/ 270000 h 469799"/>
              <a:gd name="connsiteX25" fmla="*/ 196020 w 474120"/>
              <a:gd name="connsiteY25" fmla="*/ 295380 h 469799"/>
              <a:gd name="connsiteX26" fmla="*/ 196020 w 474120"/>
              <a:gd name="connsiteY26" fmla="*/ 319680 h 469799"/>
              <a:gd name="connsiteX27" fmla="*/ 88020 w 474120"/>
              <a:gd name="connsiteY27" fmla="*/ 461700 h 469799"/>
              <a:gd name="connsiteX28" fmla="*/ 96120 w 474120"/>
              <a:gd name="connsiteY28" fmla="*/ 469800 h 469799"/>
              <a:gd name="connsiteX29" fmla="*/ 374220 w 474120"/>
              <a:gd name="connsiteY29" fmla="*/ 469800 h 469799"/>
              <a:gd name="connsiteX30" fmla="*/ 382320 w 474120"/>
              <a:gd name="connsiteY30" fmla="*/ 461700 h 469799"/>
              <a:gd name="connsiteX31" fmla="*/ 272700 w 474120"/>
              <a:gd name="connsiteY31" fmla="*/ 319680 h 469799"/>
              <a:gd name="connsiteX32" fmla="*/ 272700 w 474120"/>
              <a:gd name="connsiteY32" fmla="*/ 296460 h 469799"/>
              <a:gd name="connsiteX33" fmla="*/ 300240 w 474120"/>
              <a:gd name="connsiteY33" fmla="*/ 270540 h 469799"/>
              <a:gd name="connsiteX34" fmla="*/ 466020 w 474120"/>
              <a:gd name="connsiteY34" fmla="*/ 270540 h 469799"/>
              <a:gd name="connsiteX35" fmla="*/ 474120 w 474120"/>
              <a:gd name="connsiteY35" fmla="*/ 262440 h 469799"/>
              <a:gd name="connsiteX36" fmla="*/ 390960 w 474120"/>
              <a:gd name="connsiteY36" fmla="*/ 153360 h 469799"/>
              <a:gd name="connsiteX37" fmla="*/ 16200 w 474120"/>
              <a:gd name="connsiteY37" fmla="*/ 254340 h 469799"/>
              <a:gd name="connsiteX38" fmla="*/ 91260 w 474120"/>
              <a:gd name="connsiteY38" fmla="*/ 167940 h 469799"/>
              <a:gd name="connsiteX39" fmla="*/ 97740 w 474120"/>
              <a:gd name="connsiteY39" fmla="*/ 159840 h 469799"/>
              <a:gd name="connsiteX40" fmla="*/ 97740 w 474120"/>
              <a:gd name="connsiteY40" fmla="*/ 132840 h 469799"/>
              <a:gd name="connsiteX41" fmla="*/ 93420 w 474120"/>
              <a:gd name="connsiteY41" fmla="*/ 125820 h 469799"/>
              <a:gd name="connsiteX42" fmla="*/ 68580 w 474120"/>
              <a:gd name="connsiteY42" fmla="*/ 86400 h 469799"/>
              <a:gd name="connsiteX43" fmla="*/ 68580 w 474120"/>
              <a:gd name="connsiteY43" fmla="*/ 60480 h 469799"/>
              <a:gd name="connsiteX44" fmla="*/ 112860 w 474120"/>
              <a:gd name="connsiteY44" fmla="*/ 16200 h 469799"/>
              <a:gd name="connsiteX45" fmla="*/ 157140 w 474120"/>
              <a:gd name="connsiteY45" fmla="*/ 60480 h 469799"/>
              <a:gd name="connsiteX46" fmla="*/ 157140 w 474120"/>
              <a:gd name="connsiteY46" fmla="*/ 86400 h 469799"/>
              <a:gd name="connsiteX47" fmla="*/ 131760 w 474120"/>
              <a:gd name="connsiteY47" fmla="*/ 126360 h 469799"/>
              <a:gd name="connsiteX48" fmla="*/ 126900 w 474120"/>
              <a:gd name="connsiteY48" fmla="*/ 133920 h 469799"/>
              <a:gd name="connsiteX49" fmla="*/ 126900 w 474120"/>
              <a:gd name="connsiteY49" fmla="*/ 159840 h 469799"/>
              <a:gd name="connsiteX50" fmla="*/ 133380 w 474120"/>
              <a:gd name="connsiteY50" fmla="*/ 167940 h 469799"/>
              <a:gd name="connsiteX51" fmla="*/ 159300 w 474120"/>
              <a:gd name="connsiteY51" fmla="*/ 177660 h 469799"/>
              <a:gd name="connsiteX52" fmla="*/ 157680 w 474120"/>
              <a:gd name="connsiteY52" fmla="*/ 194400 h 469799"/>
              <a:gd name="connsiteX53" fmla="*/ 157680 w 474120"/>
              <a:gd name="connsiteY53" fmla="*/ 228960 h 469799"/>
              <a:gd name="connsiteX54" fmla="*/ 162000 w 474120"/>
              <a:gd name="connsiteY54" fmla="*/ 254340 h 469799"/>
              <a:gd name="connsiteX55" fmla="*/ 16200 w 474120"/>
              <a:gd name="connsiteY55" fmla="*/ 254340 h 469799"/>
              <a:gd name="connsiteX56" fmla="*/ 16200 w 474120"/>
              <a:gd name="connsiteY56" fmla="*/ 254340 h 469799"/>
              <a:gd name="connsiteX57" fmla="*/ 260820 w 474120"/>
              <a:gd name="connsiteY57" fmla="*/ 284040 h 469799"/>
              <a:gd name="connsiteX58" fmla="*/ 255960 w 474120"/>
              <a:gd name="connsiteY58" fmla="*/ 291600 h 469799"/>
              <a:gd name="connsiteX59" fmla="*/ 255960 w 474120"/>
              <a:gd name="connsiteY59" fmla="*/ 326160 h 469799"/>
              <a:gd name="connsiteX60" fmla="*/ 262440 w 474120"/>
              <a:gd name="connsiteY60" fmla="*/ 334260 h 469799"/>
              <a:gd name="connsiteX61" fmla="*/ 365580 w 474120"/>
              <a:gd name="connsiteY61" fmla="*/ 454140 h 469799"/>
              <a:gd name="connsiteX62" fmla="*/ 104220 w 474120"/>
              <a:gd name="connsiteY62" fmla="*/ 454140 h 469799"/>
              <a:gd name="connsiteX63" fmla="*/ 205740 w 474120"/>
              <a:gd name="connsiteY63" fmla="*/ 334800 h 469799"/>
              <a:gd name="connsiteX64" fmla="*/ 212220 w 474120"/>
              <a:gd name="connsiteY64" fmla="*/ 326700 h 469799"/>
              <a:gd name="connsiteX65" fmla="*/ 212220 w 474120"/>
              <a:gd name="connsiteY65" fmla="*/ 291060 h 469799"/>
              <a:gd name="connsiteX66" fmla="*/ 207900 w 474120"/>
              <a:gd name="connsiteY66" fmla="*/ 284040 h 469799"/>
              <a:gd name="connsiteX67" fmla="*/ 173880 w 474120"/>
              <a:gd name="connsiteY67" fmla="*/ 229500 h 469799"/>
              <a:gd name="connsiteX68" fmla="*/ 173880 w 474120"/>
              <a:gd name="connsiteY68" fmla="*/ 194940 h 469799"/>
              <a:gd name="connsiteX69" fmla="*/ 234900 w 474120"/>
              <a:gd name="connsiteY69" fmla="*/ 133920 h 469799"/>
              <a:gd name="connsiteX70" fmla="*/ 295920 w 474120"/>
              <a:gd name="connsiteY70" fmla="*/ 194940 h 469799"/>
              <a:gd name="connsiteX71" fmla="*/ 295920 w 474120"/>
              <a:gd name="connsiteY71" fmla="*/ 228960 h 469799"/>
              <a:gd name="connsiteX72" fmla="*/ 260820 w 474120"/>
              <a:gd name="connsiteY72" fmla="*/ 284040 h 469799"/>
              <a:gd name="connsiteX73" fmla="*/ 307800 w 474120"/>
              <a:gd name="connsiteY73" fmla="*/ 254340 h 469799"/>
              <a:gd name="connsiteX74" fmla="*/ 312120 w 474120"/>
              <a:gd name="connsiteY74" fmla="*/ 228960 h 469799"/>
              <a:gd name="connsiteX75" fmla="*/ 312120 w 474120"/>
              <a:gd name="connsiteY75" fmla="*/ 194400 h 469799"/>
              <a:gd name="connsiteX76" fmla="*/ 310500 w 474120"/>
              <a:gd name="connsiteY76" fmla="*/ 179820 h 469799"/>
              <a:gd name="connsiteX77" fmla="*/ 338580 w 474120"/>
              <a:gd name="connsiteY77" fmla="*/ 168480 h 469799"/>
              <a:gd name="connsiteX78" fmla="*/ 345060 w 474120"/>
              <a:gd name="connsiteY78" fmla="*/ 160380 h 469799"/>
              <a:gd name="connsiteX79" fmla="*/ 345060 w 474120"/>
              <a:gd name="connsiteY79" fmla="*/ 133380 h 469799"/>
              <a:gd name="connsiteX80" fmla="*/ 340740 w 474120"/>
              <a:gd name="connsiteY80" fmla="*/ 126360 h 469799"/>
              <a:gd name="connsiteX81" fmla="*/ 315900 w 474120"/>
              <a:gd name="connsiteY81" fmla="*/ 86940 h 469799"/>
              <a:gd name="connsiteX82" fmla="*/ 315900 w 474120"/>
              <a:gd name="connsiteY82" fmla="*/ 61020 h 469799"/>
              <a:gd name="connsiteX83" fmla="*/ 360180 w 474120"/>
              <a:gd name="connsiteY83" fmla="*/ 16740 h 469799"/>
              <a:gd name="connsiteX84" fmla="*/ 404460 w 474120"/>
              <a:gd name="connsiteY84" fmla="*/ 61020 h 469799"/>
              <a:gd name="connsiteX85" fmla="*/ 404460 w 474120"/>
              <a:gd name="connsiteY85" fmla="*/ 86940 h 469799"/>
              <a:gd name="connsiteX86" fmla="*/ 379080 w 474120"/>
              <a:gd name="connsiteY86" fmla="*/ 126900 h 469799"/>
              <a:gd name="connsiteX87" fmla="*/ 374220 w 474120"/>
              <a:gd name="connsiteY87" fmla="*/ 134460 h 469799"/>
              <a:gd name="connsiteX88" fmla="*/ 374220 w 474120"/>
              <a:gd name="connsiteY88" fmla="*/ 160380 h 469799"/>
              <a:gd name="connsiteX89" fmla="*/ 380700 w 474120"/>
              <a:gd name="connsiteY89" fmla="*/ 168480 h 469799"/>
              <a:gd name="connsiteX90" fmla="*/ 456840 w 474120"/>
              <a:gd name="connsiteY90" fmla="*/ 254880 h 469799"/>
              <a:gd name="connsiteX91" fmla="*/ 307800 w 474120"/>
              <a:gd name="connsiteY91" fmla="*/ 254340 h 469799"/>
              <a:gd name="connsiteX92" fmla="*/ 307800 w 474120"/>
              <a:gd name="connsiteY92" fmla="*/ 254340 h 46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474120" h="469799">
                <a:moveTo>
                  <a:pt x="390960" y="153360"/>
                </a:moveTo>
                <a:lnTo>
                  <a:pt x="390960" y="138780"/>
                </a:lnTo>
                <a:cubicBezTo>
                  <a:pt x="409320" y="127980"/>
                  <a:pt x="421200" y="108000"/>
                  <a:pt x="421200" y="86400"/>
                </a:cubicBezTo>
                <a:lnTo>
                  <a:pt x="421200" y="60480"/>
                </a:lnTo>
                <a:cubicBezTo>
                  <a:pt x="421200" y="27000"/>
                  <a:pt x="394200" y="0"/>
                  <a:pt x="360720" y="0"/>
                </a:cubicBezTo>
                <a:cubicBezTo>
                  <a:pt x="327240" y="0"/>
                  <a:pt x="299700" y="27000"/>
                  <a:pt x="299700" y="60480"/>
                </a:cubicBezTo>
                <a:lnTo>
                  <a:pt x="299700" y="86400"/>
                </a:lnTo>
                <a:cubicBezTo>
                  <a:pt x="299700" y="107460"/>
                  <a:pt x="310500" y="126900"/>
                  <a:pt x="328860" y="137700"/>
                </a:cubicBezTo>
                <a:lnTo>
                  <a:pt x="328860" y="153360"/>
                </a:lnTo>
                <a:cubicBezTo>
                  <a:pt x="320760" y="155520"/>
                  <a:pt x="313200" y="158760"/>
                  <a:pt x="305640" y="163080"/>
                </a:cubicBezTo>
                <a:cubicBezTo>
                  <a:pt x="293760" y="135540"/>
                  <a:pt x="266220" y="116100"/>
                  <a:pt x="234360" y="116100"/>
                </a:cubicBezTo>
                <a:cubicBezTo>
                  <a:pt x="203040" y="116100"/>
                  <a:pt x="176580" y="134460"/>
                  <a:pt x="164160" y="161460"/>
                </a:cubicBezTo>
                <a:cubicBezTo>
                  <a:pt x="157140" y="158220"/>
                  <a:pt x="150120" y="154980"/>
                  <a:pt x="143100" y="153360"/>
                </a:cubicBezTo>
                <a:lnTo>
                  <a:pt x="143100" y="138780"/>
                </a:lnTo>
                <a:cubicBezTo>
                  <a:pt x="161460" y="127980"/>
                  <a:pt x="173340" y="108000"/>
                  <a:pt x="173340" y="86400"/>
                </a:cubicBezTo>
                <a:lnTo>
                  <a:pt x="173340" y="60480"/>
                </a:lnTo>
                <a:cubicBezTo>
                  <a:pt x="173340" y="27000"/>
                  <a:pt x="146340" y="0"/>
                  <a:pt x="112860" y="0"/>
                </a:cubicBezTo>
                <a:cubicBezTo>
                  <a:pt x="79380" y="0"/>
                  <a:pt x="52380" y="27000"/>
                  <a:pt x="52380" y="60480"/>
                </a:cubicBezTo>
                <a:lnTo>
                  <a:pt x="52380" y="86400"/>
                </a:lnTo>
                <a:cubicBezTo>
                  <a:pt x="52380" y="107460"/>
                  <a:pt x="63180" y="126900"/>
                  <a:pt x="81540" y="137700"/>
                </a:cubicBezTo>
                <a:lnTo>
                  <a:pt x="81540" y="153360"/>
                </a:lnTo>
                <a:cubicBezTo>
                  <a:pt x="32940" y="167400"/>
                  <a:pt x="0" y="211140"/>
                  <a:pt x="0" y="261900"/>
                </a:cubicBezTo>
                <a:cubicBezTo>
                  <a:pt x="0" y="266220"/>
                  <a:pt x="3780" y="270000"/>
                  <a:pt x="8100" y="270000"/>
                </a:cubicBezTo>
                <a:lnTo>
                  <a:pt x="167940" y="270000"/>
                </a:lnTo>
                <a:cubicBezTo>
                  <a:pt x="168480" y="270000"/>
                  <a:pt x="169020" y="270000"/>
                  <a:pt x="169560" y="270000"/>
                </a:cubicBezTo>
                <a:cubicBezTo>
                  <a:pt x="176040" y="280260"/>
                  <a:pt x="185220" y="288900"/>
                  <a:pt x="196020" y="295380"/>
                </a:cubicBezTo>
                <a:lnTo>
                  <a:pt x="196020" y="319680"/>
                </a:lnTo>
                <a:cubicBezTo>
                  <a:pt x="131760" y="336960"/>
                  <a:pt x="88020" y="394740"/>
                  <a:pt x="88020" y="461700"/>
                </a:cubicBezTo>
                <a:cubicBezTo>
                  <a:pt x="88020" y="466020"/>
                  <a:pt x="91800" y="469800"/>
                  <a:pt x="96120" y="469800"/>
                </a:cubicBezTo>
                <a:lnTo>
                  <a:pt x="374220" y="469800"/>
                </a:lnTo>
                <a:cubicBezTo>
                  <a:pt x="378540" y="469800"/>
                  <a:pt x="382320" y="466020"/>
                  <a:pt x="382320" y="461700"/>
                </a:cubicBezTo>
                <a:cubicBezTo>
                  <a:pt x="382320" y="395280"/>
                  <a:pt x="336420" y="336420"/>
                  <a:pt x="272700" y="319680"/>
                </a:cubicBezTo>
                <a:lnTo>
                  <a:pt x="272700" y="296460"/>
                </a:lnTo>
                <a:cubicBezTo>
                  <a:pt x="284040" y="289980"/>
                  <a:pt x="293220" y="281340"/>
                  <a:pt x="300240" y="270540"/>
                </a:cubicBezTo>
                <a:lnTo>
                  <a:pt x="466020" y="270540"/>
                </a:lnTo>
                <a:cubicBezTo>
                  <a:pt x="470340" y="270540"/>
                  <a:pt x="474120" y="266760"/>
                  <a:pt x="474120" y="262440"/>
                </a:cubicBezTo>
                <a:cubicBezTo>
                  <a:pt x="473580" y="211680"/>
                  <a:pt x="439020" y="166860"/>
                  <a:pt x="390960" y="153360"/>
                </a:cubicBezTo>
                <a:close/>
                <a:moveTo>
                  <a:pt x="16200" y="254340"/>
                </a:moveTo>
                <a:cubicBezTo>
                  <a:pt x="19440" y="212220"/>
                  <a:pt x="49680" y="177660"/>
                  <a:pt x="91260" y="167940"/>
                </a:cubicBezTo>
                <a:cubicBezTo>
                  <a:pt x="95040" y="166860"/>
                  <a:pt x="97740" y="163620"/>
                  <a:pt x="97740" y="159840"/>
                </a:cubicBezTo>
                <a:lnTo>
                  <a:pt x="97740" y="132840"/>
                </a:lnTo>
                <a:cubicBezTo>
                  <a:pt x="97740" y="129600"/>
                  <a:pt x="96120" y="126900"/>
                  <a:pt x="93420" y="125820"/>
                </a:cubicBezTo>
                <a:cubicBezTo>
                  <a:pt x="78300" y="118260"/>
                  <a:pt x="68580" y="103140"/>
                  <a:pt x="68580" y="86400"/>
                </a:cubicBezTo>
                <a:lnTo>
                  <a:pt x="68580" y="60480"/>
                </a:lnTo>
                <a:cubicBezTo>
                  <a:pt x="68580" y="36180"/>
                  <a:pt x="88560" y="16200"/>
                  <a:pt x="112860" y="16200"/>
                </a:cubicBezTo>
                <a:cubicBezTo>
                  <a:pt x="137160" y="16200"/>
                  <a:pt x="157140" y="36180"/>
                  <a:pt x="157140" y="60480"/>
                </a:cubicBezTo>
                <a:lnTo>
                  <a:pt x="157140" y="86400"/>
                </a:lnTo>
                <a:cubicBezTo>
                  <a:pt x="157140" y="103140"/>
                  <a:pt x="146880" y="118800"/>
                  <a:pt x="131760" y="126360"/>
                </a:cubicBezTo>
                <a:cubicBezTo>
                  <a:pt x="129060" y="127440"/>
                  <a:pt x="126900" y="130680"/>
                  <a:pt x="126900" y="133920"/>
                </a:cubicBezTo>
                <a:lnTo>
                  <a:pt x="126900" y="159840"/>
                </a:lnTo>
                <a:cubicBezTo>
                  <a:pt x="126900" y="163620"/>
                  <a:pt x="129600" y="166860"/>
                  <a:pt x="133380" y="167940"/>
                </a:cubicBezTo>
                <a:cubicBezTo>
                  <a:pt x="142560" y="170100"/>
                  <a:pt x="151200" y="173340"/>
                  <a:pt x="159300" y="177660"/>
                </a:cubicBezTo>
                <a:cubicBezTo>
                  <a:pt x="158220" y="183060"/>
                  <a:pt x="157680" y="188460"/>
                  <a:pt x="157680" y="194400"/>
                </a:cubicBezTo>
                <a:lnTo>
                  <a:pt x="157680" y="228960"/>
                </a:lnTo>
                <a:cubicBezTo>
                  <a:pt x="157680" y="237600"/>
                  <a:pt x="159300" y="246240"/>
                  <a:pt x="162000" y="254340"/>
                </a:cubicBezTo>
                <a:lnTo>
                  <a:pt x="16200" y="254340"/>
                </a:lnTo>
                <a:lnTo>
                  <a:pt x="16200" y="254340"/>
                </a:lnTo>
                <a:close/>
                <a:moveTo>
                  <a:pt x="260820" y="284040"/>
                </a:moveTo>
                <a:cubicBezTo>
                  <a:pt x="258120" y="285120"/>
                  <a:pt x="255960" y="288360"/>
                  <a:pt x="255960" y="291600"/>
                </a:cubicBezTo>
                <a:lnTo>
                  <a:pt x="255960" y="326160"/>
                </a:lnTo>
                <a:cubicBezTo>
                  <a:pt x="255960" y="329940"/>
                  <a:pt x="258660" y="333180"/>
                  <a:pt x="262440" y="334260"/>
                </a:cubicBezTo>
                <a:cubicBezTo>
                  <a:pt x="319680" y="346680"/>
                  <a:pt x="361800" y="396360"/>
                  <a:pt x="365580" y="454140"/>
                </a:cubicBezTo>
                <a:lnTo>
                  <a:pt x="104220" y="454140"/>
                </a:lnTo>
                <a:cubicBezTo>
                  <a:pt x="107460" y="396360"/>
                  <a:pt x="148500" y="347760"/>
                  <a:pt x="205740" y="334800"/>
                </a:cubicBezTo>
                <a:cubicBezTo>
                  <a:pt x="209520" y="333720"/>
                  <a:pt x="212220" y="330480"/>
                  <a:pt x="212220" y="326700"/>
                </a:cubicBezTo>
                <a:lnTo>
                  <a:pt x="212220" y="291060"/>
                </a:lnTo>
                <a:cubicBezTo>
                  <a:pt x="212220" y="287820"/>
                  <a:pt x="210600" y="285120"/>
                  <a:pt x="207900" y="284040"/>
                </a:cubicBezTo>
                <a:cubicBezTo>
                  <a:pt x="186840" y="273780"/>
                  <a:pt x="173880" y="252720"/>
                  <a:pt x="173880" y="229500"/>
                </a:cubicBezTo>
                <a:lnTo>
                  <a:pt x="173880" y="194940"/>
                </a:lnTo>
                <a:cubicBezTo>
                  <a:pt x="173880" y="160920"/>
                  <a:pt x="201420" y="133920"/>
                  <a:pt x="234900" y="133920"/>
                </a:cubicBezTo>
                <a:cubicBezTo>
                  <a:pt x="268380" y="133920"/>
                  <a:pt x="295920" y="161460"/>
                  <a:pt x="295920" y="194940"/>
                </a:cubicBezTo>
                <a:lnTo>
                  <a:pt x="295920" y="228960"/>
                </a:lnTo>
                <a:cubicBezTo>
                  <a:pt x="295920" y="252180"/>
                  <a:pt x="282420" y="273780"/>
                  <a:pt x="260820" y="284040"/>
                </a:cubicBezTo>
                <a:close/>
                <a:moveTo>
                  <a:pt x="307800" y="254340"/>
                </a:moveTo>
                <a:cubicBezTo>
                  <a:pt x="310500" y="246240"/>
                  <a:pt x="312120" y="237600"/>
                  <a:pt x="312120" y="228960"/>
                </a:cubicBezTo>
                <a:lnTo>
                  <a:pt x="312120" y="194400"/>
                </a:lnTo>
                <a:cubicBezTo>
                  <a:pt x="312120" y="189540"/>
                  <a:pt x="311580" y="184140"/>
                  <a:pt x="310500" y="179820"/>
                </a:cubicBezTo>
                <a:cubicBezTo>
                  <a:pt x="319140" y="174420"/>
                  <a:pt x="328860" y="170640"/>
                  <a:pt x="338580" y="168480"/>
                </a:cubicBezTo>
                <a:cubicBezTo>
                  <a:pt x="342360" y="167400"/>
                  <a:pt x="345060" y="164160"/>
                  <a:pt x="345060" y="160380"/>
                </a:cubicBezTo>
                <a:lnTo>
                  <a:pt x="345060" y="133380"/>
                </a:lnTo>
                <a:cubicBezTo>
                  <a:pt x="345060" y="130140"/>
                  <a:pt x="343440" y="127440"/>
                  <a:pt x="340740" y="126360"/>
                </a:cubicBezTo>
                <a:cubicBezTo>
                  <a:pt x="325620" y="118800"/>
                  <a:pt x="315900" y="103680"/>
                  <a:pt x="315900" y="86940"/>
                </a:cubicBezTo>
                <a:lnTo>
                  <a:pt x="315900" y="61020"/>
                </a:lnTo>
                <a:cubicBezTo>
                  <a:pt x="315900" y="36720"/>
                  <a:pt x="335880" y="16740"/>
                  <a:pt x="360180" y="16740"/>
                </a:cubicBezTo>
                <a:cubicBezTo>
                  <a:pt x="384480" y="16740"/>
                  <a:pt x="404460" y="36720"/>
                  <a:pt x="404460" y="61020"/>
                </a:cubicBezTo>
                <a:lnTo>
                  <a:pt x="404460" y="86940"/>
                </a:lnTo>
                <a:cubicBezTo>
                  <a:pt x="404460" y="103680"/>
                  <a:pt x="394200" y="119340"/>
                  <a:pt x="379080" y="126900"/>
                </a:cubicBezTo>
                <a:cubicBezTo>
                  <a:pt x="376380" y="127980"/>
                  <a:pt x="374220" y="131220"/>
                  <a:pt x="374220" y="134460"/>
                </a:cubicBezTo>
                <a:lnTo>
                  <a:pt x="374220" y="160380"/>
                </a:lnTo>
                <a:cubicBezTo>
                  <a:pt x="374220" y="164160"/>
                  <a:pt x="376920" y="167400"/>
                  <a:pt x="380700" y="168480"/>
                </a:cubicBezTo>
                <a:cubicBezTo>
                  <a:pt x="422280" y="177660"/>
                  <a:pt x="453060" y="213300"/>
                  <a:pt x="456840" y="254880"/>
                </a:cubicBezTo>
                <a:lnTo>
                  <a:pt x="307800" y="254340"/>
                </a:lnTo>
                <a:lnTo>
                  <a:pt x="307800" y="254340"/>
                </a:lnTo>
                <a:close/>
              </a:path>
            </a:pathLst>
          </a:custGeom>
          <a:solidFill>
            <a:schemeClr val="accent1"/>
          </a:solidFill>
          <a:ln w="5334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19" name="Graphic 33">
            <a:extLst>
              <a:ext uri="{FF2B5EF4-FFF2-40B4-BE49-F238E27FC236}">
                <a16:creationId xmlns:a16="http://schemas.microsoft.com/office/drawing/2014/main" id="{E054C71E-86AA-4878-B107-5AC03A218100}"/>
              </a:ext>
            </a:extLst>
          </p:cNvPr>
          <p:cNvGrpSpPr/>
          <p:nvPr/>
        </p:nvGrpSpPr>
        <p:grpSpPr>
          <a:xfrm>
            <a:off x="1268059" y="1585325"/>
            <a:ext cx="352960" cy="376263"/>
            <a:chOff x="4446376" y="2316579"/>
            <a:chExt cx="442799" cy="507605"/>
          </a:xfrm>
          <a:solidFill>
            <a:schemeClr val="accent1"/>
          </a:solidFill>
        </p:grpSpPr>
        <p:sp>
          <p:nvSpPr>
            <p:cNvPr id="120" name="Freeform: Shape 141">
              <a:extLst>
                <a:ext uri="{FF2B5EF4-FFF2-40B4-BE49-F238E27FC236}">
                  <a16:creationId xmlns:a16="http://schemas.microsoft.com/office/drawing/2014/main" id="{B5E1A912-C8C3-427C-8859-94BFD0A8FC09}"/>
                </a:ext>
              </a:extLst>
            </p:cNvPr>
            <p:cNvSpPr/>
            <p:nvPr/>
          </p:nvSpPr>
          <p:spPr>
            <a:xfrm>
              <a:off x="4759576" y="2554182"/>
              <a:ext cx="129599" cy="97201"/>
            </a:xfrm>
            <a:custGeom>
              <a:avLst/>
              <a:gdLst>
                <a:gd name="connsiteX0" fmla="*/ 126948 w 129599"/>
                <a:gd name="connsiteY0" fmla="*/ 2108 h 97201"/>
                <a:gd name="connsiteX1" fmla="*/ 115506 w 129599"/>
                <a:gd name="connsiteY1" fmla="*/ 2653 h 97201"/>
                <a:gd name="connsiteX2" fmla="*/ 47536 w 129599"/>
                <a:gd name="connsiteY2" fmla="*/ 77422 h 97201"/>
                <a:gd name="connsiteX3" fmla="*/ 13775 w 129599"/>
                <a:gd name="connsiteY3" fmla="*/ 44266 h 97201"/>
                <a:gd name="connsiteX4" fmla="*/ 2322 w 129599"/>
                <a:gd name="connsiteY4" fmla="*/ 44374 h 97201"/>
                <a:gd name="connsiteX5" fmla="*/ 2430 w 129599"/>
                <a:gd name="connsiteY5" fmla="*/ 55827 h 97201"/>
                <a:gd name="connsiteX6" fmla="*/ 42201 w 129599"/>
                <a:gd name="connsiteY6" fmla="*/ 94880 h 97201"/>
                <a:gd name="connsiteX7" fmla="*/ 47876 w 129599"/>
                <a:gd name="connsiteY7" fmla="*/ 97202 h 97201"/>
                <a:gd name="connsiteX8" fmla="*/ 48103 w 129599"/>
                <a:gd name="connsiteY8" fmla="*/ 97202 h 97201"/>
                <a:gd name="connsiteX9" fmla="*/ 53865 w 129599"/>
                <a:gd name="connsiteY9" fmla="*/ 94551 h 97201"/>
                <a:gd name="connsiteX10" fmla="*/ 127494 w 129599"/>
                <a:gd name="connsiteY10" fmla="*/ 13550 h 97201"/>
                <a:gd name="connsiteX11" fmla="*/ 126948 w 129599"/>
                <a:gd name="connsiteY11" fmla="*/ 2108 h 9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9599" h="97201">
                  <a:moveTo>
                    <a:pt x="126948" y="2108"/>
                  </a:moveTo>
                  <a:cubicBezTo>
                    <a:pt x="123644" y="-905"/>
                    <a:pt x="118513" y="-657"/>
                    <a:pt x="115506" y="2653"/>
                  </a:cubicBezTo>
                  <a:lnTo>
                    <a:pt x="47536" y="77422"/>
                  </a:lnTo>
                  <a:lnTo>
                    <a:pt x="13775" y="44266"/>
                  </a:lnTo>
                  <a:cubicBezTo>
                    <a:pt x="10584" y="41128"/>
                    <a:pt x="5459" y="41172"/>
                    <a:pt x="2322" y="44374"/>
                  </a:cubicBezTo>
                  <a:cubicBezTo>
                    <a:pt x="-816" y="47565"/>
                    <a:pt x="-767" y="52695"/>
                    <a:pt x="2430" y="55827"/>
                  </a:cubicBezTo>
                  <a:lnTo>
                    <a:pt x="42201" y="94880"/>
                  </a:lnTo>
                  <a:cubicBezTo>
                    <a:pt x="43718" y="96370"/>
                    <a:pt x="45754" y="97202"/>
                    <a:pt x="47876" y="97202"/>
                  </a:cubicBezTo>
                  <a:cubicBezTo>
                    <a:pt x="47952" y="97202"/>
                    <a:pt x="48027" y="97202"/>
                    <a:pt x="48103" y="97202"/>
                  </a:cubicBezTo>
                  <a:cubicBezTo>
                    <a:pt x="50306" y="97137"/>
                    <a:pt x="52385" y="96181"/>
                    <a:pt x="53865" y="94551"/>
                  </a:cubicBezTo>
                  <a:lnTo>
                    <a:pt x="127494" y="13550"/>
                  </a:lnTo>
                  <a:cubicBezTo>
                    <a:pt x="130501" y="10235"/>
                    <a:pt x="130258" y="5116"/>
                    <a:pt x="126948" y="2108"/>
                  </a:cubicBezTo>
                  <a:close/>
                </a:path>
              </a:pathLst>
            </a:custGeom>
            <a:grpFill/>
            <a:ln w="5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Freeform: Shape 142">
              <a:extLst>
                <a:ext uri="{FF2B5EF4-FFF2-40B4-BE49-F238E27FC236}">
                  <a16:creationId xmlns:a16="http://schemas.microsoft.com/office/drawing/2014/main" id="{9C6681FE-D43B-4A79-821F-97208BBABC1E}"/>
                </a:ext>
              </a:extLst>
            </p:cNvPr>
            <p:cNvSpPr/>
            <p:nvPr/>
          </p:nvSpPr>
          <p:spPr>
            <a:xfrm>
              <a:off x="4754175" y="2705376"/>
              <a:ext cx="118801" cy="118808"/>
            </a:xfrm>
            <a:custGeom>
              <a:avLst/>
              <a:gdLst>
                <a:gd name="connsiteX0" fmla="*/ 70843 w 118801"/>
                <a:gd name="connsiteY0" fmla="*/ 59284 h 118808"/>
                <a:gd name="connsiteX1" fmla="*/ 116192 w 118801"/>
                <a:gd name="connsiteY1" fmla="*/ 13827 h 118808"/>
                <a:gd name="connsiteX2" fmla="*/ 116182 w 118801"/>
                <a:gd name="connsiteY2" fmla="*/ 2368 h 118808"/>
                <a:gd name="connsiteX3" fmla="*/ 104723 w 118801"/>
                <a:gd name="connsiteY3" fmla="*/ 2379 h 118808"/>
                <a:gd name="connsiteX4" fmla="*/ 59401 w 118801"/>
                <a:gd name="connsiteY4" fmla="*/ 47809 h 118808"/>
                <a:gd name="connsiteX5" fmla="*/ 14084 w 118801"/>
                <a:gd name="connsiteY5" fmla="*/ 2379 h 118808"/>
                <a:gd name="connsiteX6" fmla="*/ 2625 w 118801"/>
                <a:gd name="connsiteY6" fmla="*/ 2368 h 118808"/>
                <a:gd name="connsiteX7" fmla="*/ 2614 w 118801"/>
                <a:gd name="connsiteY7" fmla="*/ 13827 h 118808"/>
                <a:gd name="connsiteX8" fmla="*/ 47958 w 118801"/>
                <a:gd name="connsiteY8" fmla="*/ 59284 h 118808"/>
                <a:gd name="connsiteX9" fmla="*/ 2366 w 118801"/>
                <a:gd name="connsiteY9" fmla="*/ 104984 h 118808"/>
                <a:gd name="connsiteX10" fmla="*/ 2377 w 118801"/>
                <a:gd name="connsiteY10" fmla="*/ 116443 h 118808"/>
                <a:gd name="connsiteX11" fmla="*/ 8101 w 118801"/>
                <a:gd name="connsiteY11" fmla="*/ 118808 h 118808"/>
                <a:gd name="connsiteX12" fmla="*/ 13835 w 118801"/>
                <a:gd name="connsiteY12" fmla="*/ 116432 h 118808"/>
                <a:gd name="connsiteX13" fmla="*/ 59401 w 118801"/>
                <a:gd name="connsiteY13" fmla="*/ 70759 h 118808"/>
                <a:gd name="connsiteX14" fmla="*/ 104966 w 118801"/>
                <a:gd name="connsiteY14" fmla="*/ 116432 h 118808"/>
                <a:gd name="connsiteX15" fmla="*/ 110701 w 118801"/>
                <a:gd name="connsiteY15" fmla="*/ 118808 h 118808"/>
                <a:gd name="connsiteX16" fmla="*/ 116425 w 118801"/>
                <a:gd name="connsiteY16" fmla="*/ 116443 h 118808"/>
                <a:gd name="connsiteX17" fmla="*/ 116435 w 118801"/>
                <a:gd name="connsiteY17" fmla="*/ 104984 h 118808"/>
                <a:gd name="connsiteX18" fmla="*/ 70843 w 118801"/>
                <a:gd name="connsiteY18" fmla="*/ 59284 h 118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8801" h="118808">
                  <a:moveTo>
                    <a:pt x="70843" y="59284"/>
                  </a:moveTo>
                  <a:lnTo>
                    <a:pt x="116192" y="13827"/>
                  </a:lnTo>
                  <a:cubicBezTo>
                    <a:pt x="119351" y="10662"/>
                    <a:pt x="119346" y="5527"/>
                    <a:pt x="116182" y="2368"/>
                  </a:cubicBezTo>
                  <a:cubicBezTo>
                    <a:pt x="113012" y="-791"/>
                    <a:pt x="107882" y="-786"/>
                    <a:pt x="104723" y="2379"/>
                  </a:cubicBezTo>
                  <a:lnTo>
                    <a:pt x="59401" y="47809"/>
                  </a:lnTo>
                  <a:lnTo>
                    <a:pt x="14084" y="2379"/>
                  </a:lnTo>
                  <a:cubicBezTo>
                    <a:pt x="10925" y="-791"/>
                    <a:pt x="5795" y="-791"/>
                    <a:pt x="2625" y="2368"/>
                  </a:cubicBezTo>
                  <a:cubicBezTo>
                    <a:pt x="-545" y="5527"/>
                    <a:pt x="-545" y="10657"/>
                    <a:pt x="2614" y="13827"/>
                  </a:cubicBezTo>
                  <a:lnTo>
                    <a:pt x="47958" y="59284"/>
                  </a:lnTo>
                  <a:lnTo>
                    <a:pt x="2366" y="104984"/>
                  </a:lnTo>
                  <a:cubicBezTo>
                    <a:pt x="-793" y="108149"/>
                    <a:pt x="-788" y="113284"/>
                    <a:pt x="2377" y="116443"/>
                  </a:cubicBezTo>
                  <a:cubicBezTo>
                    <a:pt x="3959" y="118020"/>
                    <a:pt x="6027" y="118808"/>
                    <a:pt x="8101" y="118808"/>
                  </a:cubicBezTo>
                  <a:cubicBezTo>
                    <a:pt x="10174" y="118808"/>
                    <a:pt x="12253" y="118014"/>
                    <a:pt x="13835" y="116432"/>
                  </a:cubicBezTo>
                  <a:lnTo>
                    <a:pt x="59401" y="70759"/>
                  </a:lnTo>
                  <a:lnTo>
                    <a:pt x="104966" y="116432"/>
                  </a:lnTo>
                  <a:cubicBezTo>
                    <a:pt x="106548" y="118014"/>
                    <a:pt x="108627" y="118808"/>
                    <a:pt x="110701" y="118808"/>
                  </a:cubicBezTo>
                  <a:cubicBezTo>
                    <a:pt x="112769" y="118808"/>
                    <a:pt x="114842" y="118020"/>
                    <a:pt x="116425" y="116443"/>
                  </a:cubicBezTo>
                  <a:cubicBezTo>
                    <a:pt x="119589" y="113284"/>
                    <a:pt x="119594" y="108154"/>
                    <a:pt x="116435" y="104984"/>
                  </a:cubicBezTo>
                  <a:lnTo>
                    <a:pt x="70843" y="59284"/>
                  </a:lnTo>
                  <a:close/>
                </a:path>
              </a:pathLst>
            </a:custGeom>
            <a:grpFill/>
            <a:ln w="5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Freeform: Shape 143">
              <a:extLst>
                <a:ext uri="{FF2B5EF4-FFF2-40B4-BE49-F238E27FC236}">
                  <a16:creationId xmlns:a16="http://schemas.microsoft.com/office/drawing/2014/main" id="{B6AE2597-BFC8-4D7A-998F-0A3D656EBF3E}"/>
                </a:ext>
              </a:extLst>
            </p:cNvPr>
            <p:cNvSpPr/>
            <p:nvPr/>
          </p:nvSpPr>
          <p:spPr>
            <a:xfrm>
              <a:off x="4692076" y="2608179"/>
              <a:ext cx="43200" cy="167394"/>
            </a:xfrm>
            <a:custGeom>
              <a:avLst/>
              <a:gdLst>
                <a:gd name="connsiteX0" fmla="*/ 35100 w 43200"/>
                <a:gd name="connsiteY0" fmla="*/ 16200 h 167394"/>
                <a:gd name="connsiteX1" fmla="*/ 43200 w 43200"/>
                <a:gd name="connsiteY1" fmla="*/ 8100 h 167394"/>
                <a:gd name="connsiteX2" fmla="*/ 35100 w 43200"/>
                <a:gd name="connsiteY2" fmla="*/ 0 h 167394"/>
                <a:gd name="connsiteX3" fmla="*/ 0 w 43200"/>
                <a:gd name="connsiteY3" fmla="*/ 38043 h 167394"/>
                <a:gd name="connsiteX4" fmla="*/ 0 w 43200"/>
                <a:gd name="connsiteY4" fmla="*/ 129352 h 167394"/>
                <a:gd name="connsiteX5" fmla="*/ 35100 w 43200"/>
                <a:gd name="connsiteY5" fmla="*/ 167395 h 167394"/>
                <a:gd name="connsiteX6" fmla="*/ 43200 w 43200"/>
                <a:gd name="connsiteY6" fmla="*/ 159295 h 167394"/>
                <a:gd name="connsiteX7" fmla="*/ 35100 w 43200"/>
                <a:gd name="connsiteY7" fmla="*/ 151195 h 167394"/>
                <a:gd name="connsiteX8" fmla="*/ 16200 w 43200"/>
                <a:gd name="connsiteY8" fmla="*/ 129352 h 167394"/>
                <a:gd name="connsiteX9" fmla="*/ 16200 w 43200"/>
                <a:gd name="connsiteY9" fmla="*/ 38043 h 167394"/>
                <a:gd name="connsiteX10" fmla="*/ 35100 w 43200"/>
                <a:gd name="connsiteY10" fmla="*/ 16200 h 167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200" h="167394">
                  <a:moveTo>
                    <a:pt x="35100" y="16200"/>
                  </a:moveTo>
                  <a:cubicBezTo>
                    <a:pt x="39577" y="16200"/>
                    <a:pt x="43200" y="12577"/>
                    <a:pt x="43200" y="8100"/>
                  </a:cubicBezTo>
                  <a:cubicBezTo>
                    <a:pt x="43200" y="3623"/>
                    <a:pt x="39577" y="0"/>
                    <a:pt x="35100" y="0"/>
                  </a:cubicBezTo>
                  <a:cubicBezTo>
                    <a:pt x="15746" y="0"/>
                    <a:pt x="0" y="17069"/>
                    <a:pt x="0" y="38043"/>
                  </a:cubicBezTo>
                  <a:lnTo>
                    <a:pt x="0" y="129352"/>
                  </a:lnTo>
                  <a:cubicBezTo>
                    <a:pt x="0" y="150331"/>
                    <a:pt x="15746" y="167395"/>
                    <a:pt x="35100" y="167395"/>
                  </a:cubicBezTo>
                  <a:cubicBezTo>
                    <a:pt x="39577" y="167395"/>
                    <a:pt x="43200" y="163771"/>
                    <a:pt x="43200" y="159295"/>
                  </a:cubicBezTo>
                  <a:cubicBezTo>
                    <a:pt x="43200" y="154818"/>
                    <a:pt x="39577" y="151195"/>
                    <a:pt x="35100" y="151195"/>
                  </a:cubicBezTo>
                  <a:cubicBezTo>
                    <a:pt x="24678" y="151195"/>
                    <a:pt x="16200" y="141394"/>
                    <a:pt x="16200" y="129352"/>
                  </a:cubicBezTo>
                  <a:lnTo>
                    <a:pt x="16200" y="38043"/>
                  </a:lnTo>
                  <a:cubicBezTo>
                    <a:pt x="16200" y="26001"/>
                    <a:pt x="24678" y="16200"/>
                    <a:pt x="35100" y="16200"/>
                  </a:cubicBezTo>
                  <a:close/>
                </a:path>
              </a:pathLst>
            </a:custGeom>
            <a:grpFill/>
            <a:ln w="5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Freeform: Shape 144">
              <a:extLst>
                <a:ext uri="{FF2B5EF4-FFF2-40B4-BE49-F238E27FC236}">
                  <a16:creationId xmlns:a16="http://schemas.microsoft.com/office/drawing/2014/main" id="{5C5E8F9D-533C-49CA-8D28-8D0B23B0EC1C}"/>
                </a:ext>
              </a:extLst>
            </p:cNvPr>
            <p:cNvSpPr/>
            <p:nvPr/>
          </p:nvSpPr>
          <p:spPr>
            <a:xfrm>
              <a:off x="4446376" y="2556301"/>
              <a:ext cx="270003" cy="194399"/>
            </a:xfrm>
            <a:custGeom>
              <a:avLst/>
              <a:gdLst>
                <a:gd name="connsiteX0" fmla="*/ 205200 w 270003"/>
                <a:gd name="connsiteY0" fmla="*/ 178200 h 194399"/>
                <a:gd name="connsiteX1" fmla="*/ 16389 w 270003"/>
                <a:gd name="connsiteY1" fmla="*/ 178200 h 194399"/>
                <a:gd name="connsiteX2" fmla="*/ 185247 w 270003"/>
                <a:gd name="connsiteY2" fmla="*/ 16200 h 194399"/>
                <a:gd name="connsiteX3" fmla="*/ 258374 w 270003"/>
                <a:gd name="connsiteY3" fmla="*/ 32902 h 194399"/>
                <a:gd name="connsiteX4" fmla="*/ 269195 w 270003"/>
                <a:gd name="connsiteY4" fmla="*/ 29138 h 194399"/>
                <a:gd name="connsiteX5" fmla="*/ 265432 w 270003"/>
                <a:gd name="connsiteY5" fmla="*/ 18317 h 194399"/>
                <a:gd name="connsiteX6" fmla="*/ 185247 w 270003"/>
                <a:gd name="connsiteY6" fmla="*/ 0 h 194399"/>
                <a:gd name="connsiteX7" fmla="*/ 0 w 270003"/>
                <a:gd name="connsiteY7" fmla="*/ 186300 h 194399"/>
                <a:gd name="connsiteX8" fmla="*/ 8100 w 270003"/>
                <a:gd name="connsiteY8" fmla="*/ 194400 h 194399"/>
                <a:gd name="connsiteX9" fmla="*/ 205200 w 270003"/>
                <a:gd name="connsiteY9" fmla="*/ 194400 h 194399"/>
                <a:gd name="connsiteX10" fmla="*/ 213300 w 270003"/>
                <a:gd name="connsiteY10" fmla="*/ 186300 h 194399"/>
                <a:gd name="connsiteX11" fmla="*/ 205200 w 270003"/>
                <a:gd name="connsiteY11" fmla="*/ 178200 h 19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003" h="194399">
                  <a:moveTo>
                    <a:pt x="205200" y="178200"/>
                  </a:moveTo>
                  <a:lnTo>
                    <a:pt x="16389" y="178200"/>
                  </a:lnTo>
                  <a:cubicBezTo>
                    <a:pt x="20601" y="88150"/>
                    <a:pt x="94727" y="16200"/>
                    <a:pt x="185247" y="16200"/>
                  </a:cubicBezTo>
                  <a:cubicBezTo>
                    <a:pt x="210859" y="16200"/>
                    <a:pt x="235462" y="21821"/>
                    <a:pt x="258374" y="32902"/>
                  </a:cubicBezTo>
                  <a:cubicBezTo>
                    <a:pt x="262413" y="34852"/>
                    <a:pt x="267246" y="33167"/>
                    <a:pt x="269195" y="29138"/>
                  </a:cubicBezTo>
                  <a:cubicBezTo>
                    <a:pt x="271139" y="25110"/>
                    <a:pt x="269455" y="20266"/>
                    <a:pt x="265432" y="18317"/>
                  </a:cubicBezTo>
                  <a:cubicBezTo>
                    <a:pt x="240300" y="6167"/>
                    <a:pt x="213327" y="0"/>
                    <a:pt x="185247" y="0"/>
                  </a:cubicBezTo>
                  <a:cubicBezTo>
                    <a:pt x="83101" y="0"/>
                    <a:pt x="0" y="83576"/>
                    <a:pt x="0" y="186300"/>
                  </a:cubicBezTo>
                  <a:cubicBezTo>
                    <a:pt x="0" y="190777"/>
                    <a:pt x="3623" y="194400"/>
                    <a:pt x="8100" y="194400"/>
                  </a:cubicBezTo>
                  <a:lnTo>
                    <a:pt x="205200" y="194400"/>
                  </a:lnTo>
                  <a:cubicBezTo>
                    <a:pt x="209677" y="194400"/>
                    <a:pt x="213300" y="190777"/>
                    <a:pt x="213300" y="186300"/>
                  </a:cubicBezTo>
                  <a:cubicBezTo>
                    <a:pt x="213300" y="181823"/>
                    <a:pt x="209677" y="178200"/>
                    <a:pt x="205200" y="178200"/>
                  </a:cubicBezTo>
                  <a:close/>
                </a:path>
              </a:pathLst>
            </a:custGeom>
            <a:grpFill/>
            <a:ln w="5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Freeform: Shape 145">
              <a:extLst>
                <a:ext uri="{FF2B5EF4-FFF2-40B4-BE49-F238E27FC236}">
                  <a16:creationId xmlns:a16="http://schemas.microsoft.com/office/drawing/2014/main" id="{9504A873-2DE2-4381-A435-A3078CD4A900}"/>
                </a:ext>
              </a:extLst>
            </p:cNvPr>
            <p:cNvSpPr/>
            <p:nvPr/>
          </p:nvSpPr>
          <p:spPr>
            <a:xfrm>
              <a:off x="4527376" y="2316579"/>
              <a:ext cx="216000" cy="216000"/>
            </a:xfrm>
            <a:custGeom>
              <a:avLst/>
              <a:gdLst>
                <a:gd name="connsiteX0" fmla="*/ 107978 w 216000"/>
                <a:gd name="connsiteY0" fmla="*/ 0 h 216000"/>
                <a:gd name="connsiteX1" fmla="*/ 0 w 216000"/>
                <a:gd name="connsiteY1" fmla="*/ 108000 h 216000"/>
                <a:gd name="connsiteX2" fmla="*/ 107978 w 216000"/>
                <a:gd name="connsiteY2" fmla="*/ 216000 h 216000"/>
                <a:gd name="connsiteX3" fmla="*/ 216000 w 216000"/>
                <a:gd name="connsiteY3" fmla="*/ 108000 h 216000"/>
                <a:gd name="connsiteX4" fmla="*/ 107978 w 216000"/>
                <a:gd name="connsiteY4" fmla="*/ 0 h 216000"/>
                <a:gd name="connsiteX5" fmla="*/ 107978 w 216000"/>
                <a:gd name="connsiteY5" fmla="*/ 199800 h 216000"/>
                <a:gd name="connsiteX6" fmla="*/ 16200 w 216000"/>
                <a:gd name="connsiteY6" fmla="*/ 108000 h 216000"/>
                <a:gd name="connsiteX7" fmla="*/ 107978 w 216000"/>
                <a:gd name="connsiteY7" fmla="*/ 16200 h 216000"/>
                <a:gd name="connsiteX8" fmla="*/ 199800 w 216000"/>
                <a:gd name="connsiteY8" fmla="*/ 108000 h 216000"/>
                <a:gd name="connsiteX9" fmla="*/ 107978 w 216000"/>
                <a:gd name="connsiteY9" fmla="*/ 199800 h 2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000" h="216000">
                  <a:moveTo>
                    <a:pt x="107978" y="0"/>
                  </a:moveTo>
                  <a:cubicBezTo>
                    <a:pt x="48443" y="0"/>
                    <a:pt x="0" y="48449"/>
                    <a:pt x="0" y="108000"/>
                  </a:cubicBezTo>
                  <a:cubicBezTo>
                    <a:pt x="0" y="167551"/>
                    <a:pt x="48438" y="216000"/>
                    <a:pt x="107978" y="216000"/>
                  </a:cubicBezTo>
                  <a:cubicBezTo>
                    <a:pt x="167540" y="216000"/>
                    <a:pt x="216000" y="167551"/>
                    <a:pt x="216000" y="108000"/>
                  </a:cubicBezTo>
                  <a:cubicBezTo>
                    <a:pt x="216000" y="48449"/>
                    <a:pt x="167540" y="0"/>
                    <a:pt x="107978" y="0"/>
                  </a:cubicBezTo>
                  <a:close/>
                  <a:moveTo>
                    <a:pt x="107978" y="199800"/>
                  </a:moveTo>
                  <a:cubicBezTo>
                    <a:pt x="57370" y="199800"/>
                    <a:pt x="16200" y="158620"/>
                    <a:pt x="16200" y="108000"/>
                  </a:cubicBezTo>
                  <a:cubicBezTo>
                    <a:pt x="16200" y="57380"/>
                    <a:pt x="57370" y="16200"/>
                    <a:pt x="107978" y="16200"/>
                  </a:cubicBezTo>
                  <a:cubicBezTo>
                    <a:pt x="158609" y="16200"/>
                    <a:pt x="199800" y="57380"/>
                    <a:pt x="199800" y="108000"/>
                  </a:cubicBezTo>
                  <a:cubicBezTo>
                    <a:pt x="199800" y="158620"/>
                    <a:pt x="158609" y="199800"/>
                    <a:pt x="107978" y="199800"/>
                  </a:cubicBezTo>
                  <a:close/>
                </a:path>
              </a:pathLst>
            </a:custGeom>
            <a:grpFill/>
            <a:ln w="5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10" name="Рисунок 9" descr="Статистика контур">
            <a:extLst>
              <a:ext uri="{FF2B5EF4-FFF2-40B4-BE49-F238E27FC236}">
                <a16:creationId xmlns:a16="http://schemas.microsoft.com/office/drawing/2014/main" id="{D616998B-00C5-4ECE-A29D-72E46F3618B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7549" y="2220381"/>
            <a:ext cx="493042" cy="493042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B1C2B1D-F7C2-EF19-6C21-C21B0F8C6C20}"/>
              </a:ext>
            </a:extLst>
          </p:cNvPr>
          <p:cNvGrpSpPr/>
          <p:nvPr/>
        </p:nvGrpSpPr>
        <p:grpSpPr>
          <a:xfrm>
            <a:off x="6495253" y="1555054"/>
            <a:ext cx="4897985" cy="4844238"/>
            <a:chOff x="6485627" y="1669594"/>
            <a:chExt cx="4897985" cy="4844238"/>
          </a:xfrm>
        </p:grpSpPr>
        <p:pic>
          <p:nvPicPr>
            <p:cNvPr id="4" name="Picture 4">
              <a:extLst>
                <a:ext uri="{FF2B5EF4-FFF2-40B4-BE49-F238E27FC236}">
                  <a16:creationId xmlns:a16="http://schemas.microsoft.com/office/drawing/2014/main" id="{7BF1686C-649A-5141-893F-104D1025E4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58399" y="5707278"/>
              <a:ext cx="1325213" cy="8065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518737C4-30B5-025A-696A-82E7AF1165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0768" y="5529064"/>
              <a:ext cx="1424736" cy="910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7">
              <a:extLst>
                <a:ext uri="{FF2B5EF4-FFF2-40B4-BE49-F238E27FC236}">
                  <a16:creationId xmlns:a16="http://schemas.microsoft.com/office/drawing/2014/main" id="{159973C9-FE4C-9A71-7D37-1092B46DC0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5130" y="2301257"/>
              <a:ext cx="910637" cy="4474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 descr="Loreal Logo | The most famous brands and company logos in the world">
              <a:extLst>
                <a:ext uri="{FF2B5EF4-FFF2-40B4-BE49-F238E27FC236}">
                  <a16:creationId xmlns:a16="http://schemas.microsoft.com/office/drawing/2014/main" id="{502DA398-0293-9E51-30EB-48850249AC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8465" y="4915373"/>
              <a:ext cx="1055426" cy="608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062D09A0-920F-E7FE-3ABA-8F3381340D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t="31679" b="33490"/>
            <a:stretch/>
          </p:blipFill>
          <p:spPr>
            <a:xfrm>
              <a:off x="9698060" y="2999092"/>
              <a:ext cx="1604918" cy="539781"/>
            </a:xfrm>
            <a:prstGeom prst="rect">
              <a:avLst/>
            </a:prstGeom>
          </p:spPr>
        </p:pic>
        <p:pic>
          <p:nvPicPr>
            <p:cNvPr id="11" name="Рисунок 27" descr="Изображение выглядит как знак, часы,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id="{D600B02E-2664-99A4-92EF-C06407AF36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616295" y="1669594"/>
              <a:ext cx="941619" cy="370194"/>
            </a:xfrm>
            <a:prstGeom prst="rect">
              <a:avLst/>
            </a:prstGeom>
          </p:spPr>
        </p:pic>
        <p:pic>
          <p:nvPicPr>
            <p:cNvPr id="12" name="Рисунок 5">
              <a:extLst>
                <a:ext uri="{FF2B5EF4-FFF2-40B4-BE49-F238E27FC236}">
                  <a16:creationId xmlns:a16="http://schemas.microsoft.com/office/drawing/2014/main" id="{AB56B0F9-096A-6E51-8CE4-9778AA812E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485627" y="2424088"/>
              <a:ext cx="1691510" cy="475737"/>
            </a:xfrm>
            <a:prstGeom prst="rect">
              <a:avLst/>
            </a:prstGeom>
          </p:spPr>
        </p:pic>
        <p:pic>
          <p:nvPicPr>
            <p:cNvPr id="13" name="Рисунок 6">
              <a:extLst>
                <a:ext uri="{FF2B5EF4-FFF2-40B4-BE49-F238E27FC236}">
                  <a16:creationId xmlns:a16="http://schemas.microsoft.com/office/drawing/2014/main" id="{5FD0A090-EE70-BBBE-6A36-98C9CE684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481660" y="2338611"/>
              <a:ext cx="1045247" cy="629102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8EC8B520-EE5E-1DDD-3003-23E4F58C2B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058590" y="1734926"/>
              <a:ext cx="1230286" cy="353707"/>
            </a:xfrm>
            <a:prstGeom prst="rect">
              <a:avLst/>
            </a:prstGeom>
          </p:spPr>
        </p:pic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A6139D2F-0F50-293D-9AEF-E27354FD47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0704783" y="2326209"/>
              <a:ext cx="402858" cy="402858"/>
            </a:xfrm>
            <a:prstGeom prst="rect">
              <a:avLst/>
            </a:prstGeom>
          </p:spPr>
        </p:pic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8E6E2264-522F-90C5-5285-B1DC70E0BD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531939" y="3127827"/>
              <a:ext cx="994936" cy="367361"/>
            </a:xfrm>
            <a:prstGeom prst="rect">
              <a:avLst/>
            </a:prstGeom>
          </p:spPr>
        </p:pic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477DFE5A-9395-7791-CCB6-097D46F5D0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858147" y="3052192"/>
              <a:ext cx="1663321" cy="569757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B6AC2952-DD03-AFB8-E26A-72D43A0851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6597985" y="3778606"/>
              <a:ext cx="1416544" cy="296486"/>
            </a:xfrm>
            <a:prstGeom prst="rect">
              <a:avLst/>
            </a:prstGeom>
          </p:spPr>
        </p:pic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BC2D34F3-2388-D6FB-A0E9-838A18DE03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0143158" y="3648445"/>
              <a:ext cx="951522" cy="519739"/>
            </a:xfrm>
            <a:prstGeom prst="rect">
              <a:avLst/>
            </a:prstGeom>
          </p:spPr>
        </p:pic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4E1410EE-724C-0490-130F-835FE92D7F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8459142" y="3706428"/>
              <a:ext cx="1213474" cy="423985"/>
            </a:xfrm>
            <a:prstGeom prst="rect">
              <a:avLst/>
            </a:prstGeom>
          </p:spPr>
        </p:pic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12BCC669-25C6-E2F2-9274-82F5803FD6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6604375" y="4190867"/>
              <a:ext cx="1161671" cy="502344"/>
            </a:xfrm>
            <a:prstGeom prst="rect">
              <a:avLst/>
            </a:prstGeom>
          </p:spPr>
        </p:pic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55480436-7029-3F6B-47C1-F9044606BE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8059210" y="4375835"/>
              <a:ext cx="1548247" cy="272305"/>
            </a:xfrm>
            <a:prstGeom prst="rect">
              <a:avLst/>
            </a:prstGeom>
          </p:spPr>
        </p:pic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4F7050D8-6041-8AB5-1830-32062B631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9977747" y="4799801"/>
              <a:ext cx="1168400" cy="723900"/>
            </a:xfrm>
            <a:prstGeom prst="rect">
              <a:avLst/>
            </a:prstGeom>
          </p:spPr>
        </p:pic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6568924D-5403-3CC2-30A3-8B10A531C6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9834672" y="4171758"/>
              <a:ext cx="1491494" cy="525413"/>
            </a:xfrm>
            <a:prstGeom prst="rect">
              <a:avLst/>
            </a:prstGeom>
          </p:spPr>
        </p:pic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34EE68EF-C272-C197-8696-C70F048A8D37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7954353" y="4819563"/>
              <a:ext cx="1503462" cy="601385"/>
            </a:xfrm>
            <a:prstGeom prst="rect">
              <a:avLst/>
            </a:prstGeom>
          </p:spPr>
        </p:pic>
        <p:pic>
          <p:nvPicPr>
            <p:cNvPr id="26" name="Picture 4">
              <a:extLst>
                <a:ext uri="{FF2B5EF4-FFF2-40B4-BE49-F238E27FC236}">
                  <a16:creationId xmlns:a16="http://schemas.microsoft.com/office/drawing/2014/main" id="{D3909C7E-5EF8-13CE-2B3A-9F3141CC9A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37141" y="6053240"/>
              <a:ext cx="954362" cy="2065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10" descr="Изображение логотипа">
              <a:extLst>
                <a:ext uri="{FF2B5EF4-FFF2-40B4-BE49-F238E27FC236}">
                  <a16:creationId xmlns:a16="http://schemas.microsoft.com/office/drawing/2014/main" id="{356AAD06-9AF6-8408-82BF-0453F7089A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9259" y="5620116"/>
              <a:ext cx="550995" cy="608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6">
              <a:extLst>
                <a:ext uri="{FF2B5EF4-FFF2-40B4-BE49-F238E27FC236}">
                  <a16:creationId xmlns:a16="http://schemas.microsoft.com/office/drawing/2014/main" id="{D8620D04-614C-E2FF-06BA-690498AAE3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5618" y="1713048"/>
              <a:ext cx="1334872" cy="353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7" name="Slide Number Placeholder 2">
            <a:extLst>
              <a:ext uri="{FF2B5EF4-FFF2-40B4-BE49-F238E27FC236}">
                <a16:creationId xmlns:a16="http://schemas.microsoft.com/office/drawing/2014/main" id="{26C3349E-7F9E-0EED-DBFB-C6E3E4F3EE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236538" cy="153888"/>
          </a:xfrm>
        </p:spPr>
        <p:txBody>
          <a:bodyPr/>
          <a:lstStyle/>
          <a:p>
            <a:fld id="{B6AA8A74-8566-41AB-BE36-77E5736D8C67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32" name="Заголовок 19">
            <a:extLst>
              <a:ext uri="{FF2B5EF4-FFF2-40B4-BE49-F238E27FC236}">
                <a16:creationId xmlns:a16="http://schemas.microsoft.com/office/drawing/2014/main" id="{59FCBFD7-E8FF-810E-32F9-131257B29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283" y="290247"/>
            <a:ext cx="9347626" cy="955646"/>
          </a:xfrm>
        </p:spPr>
        <p:txBody>
          <a:bodyPr/>
          <a:lstStyle/>
          <a:p>
            <a:r>
              <a:rPr lang="ru-RU" sz="2300" b="1" dirty="0">
                <a:solidFill>
                  <a:srgbClr val="C00000"/>
                </a:solidFill>
                <a:latin typeface="Inter" panose="02000503000000020004" pitchFamily="2" charset="0"/>
                <a:ea typeface="Inter" panose="02000503000000020004" pitchFamily="2" charset="0"/>
              </a:rPr>
              <a:t>Выпускники Программы работают </a:t>
            </a:r>
            <a:r>
              <a:rPr lang="ru-RU" sz="2300" b="1" dirty="0">
                <a:latin typeface="Inter" panose="02000503000000020004" pitchFamily="2" charset="0"/>
                <a:ea typeface="Inter" panose="02000503000000020004" pitchFamily="2" charset="0"/>
              </a:rPr>
              <a:t>в ведущих компаниях</a:t>
            </a:r>
            <a:r>
              <a:rPr lang="ru-RU" sz="2300" b="1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 страны и мира, успешно запускают собственный бизнес</a:t>
            </a:r>
          </a:p>
        </p:txBody>
      </p:sp>
    </p:spTree>
    <p:extLst>
      <p:ext uri="{BB962C8B-B14F-4D97-AF65-F5344CB8AC3E}">
        <p14:creationId xmlns:p14="http://schemas.microsoft.com/office/powerpoint/2010/main" val="42488011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12" descr="A picture containing text, person, indoor, computer&#10;&#10;Description automatically generated">
            <a:extLst>
              <a:ext uri="{FF2B5EF4-FFF2-40B4-BE49-F238E27FC236}">
                <a16:creationId xmlns:a16="http://schemas.microsoft.com/office/drawing/2014/main" id="{38727FC2-076C-4522-86A6-9681061D713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8010" y="850967"/>
            <a:ext cx="9063990" cy="6042659"/>
          </a:xfrm>
          <a:prstGeom prst="rect">
            <a:avLst/>
          </a:prstGeom>
        </p:spPr>
      </p:pic>
      <p:sp>
        <p:nvSpPr>
          <p:cNvPr id="33" name="Rectangle 79">
            <a:extLst>
              <a:ext uri="{FF2B5EF4-FFF2-40B4-BE49-F238E27FC236}">
                <a16:creationId xmlns:a16="http://schemas.microsoft.com/office/drawing/2014/main" id="{86083E35-4196-764F-ABC9-3767D531F6BB}"/>
              </a:ext>
            </a:extLst>
          </p:cNvPr>
          <p:cNvSpPr/>
          <p:nvPr/>
        </p:nvSpPr>
        <p:spPr>
          <a:xfrm>
            <a:off x="3183558" y="1022526"/>
            <a:ext cx="2113069" cy="215444"/>
          </a:xfrm>
          <a:prstGeom prst="rect">
            <a:avLst/>
          </a:prstGeom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=""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</a:pPr>
            <a:endParaRPr lang="ru-RU" sz="1400" b="1">
              <a:solidFill>
                <a:schemeClr val="accent1"/>
              </a:solidFill>
              <a:latin typeface="Euclid Circular A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28583D54-A0FA-4C93-B0E9-143E52ED8E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513"/>
            <a:ext cx="8431212" cy="637097"/>
          </a:xfrm>
        </p:spPr>
        <p:txBody>
          <a:bodyPr/>
          <a:lstStyle/>
          <a:p>
            <a:pPr lvl="0"/>
            <a:r>
              <a:rPr lang="ru-RU" sz="2300" b="1" noProof="0" dirty="0">
                <a:latin typeface="Inter" panose="02000503000000020004" pitchFamily="2" charset="0"/>
                <a:ea typeface="Inter" panose="02000503000000020004" pitchFamily="2" charset="0"/>
              </a:rPr>
              <a:t>Программа «международный менеджмент» </a:t>
            </a:r>
            <a:br>
              <a:rPr lang="ru-RU" sz="2300" b="1" noProof="0" dirty="0">
                <a:latin typeface="Inter" panose="02000503000000020004" pitchFamily="2" charset="0"/>
                <a:ea typeface="Inter" panose="02000503000000020004" pitchFamily="2" charset="0"/>
              </a:rPr>
            </a:br>
            <a:r>
              <a:rPr lang="ru-RU" sz="2300" b="1" noProof="0" dirty="0">
                <a:solidFill>
                  <a:schemeClr val="bg2"/>
                </a:solidFill>
                <a:latin typeface="Inter" panose="02000503000000020004" pitchFamily="2" charset="0"/>
                <a:ea typeface="Inter" panose="02000503000000020004" pitchFamily="2" charset="0"/>
              </a:rPr>
              <a:t>подойдет для тех, кого интересует:</a:t>
            </a:r>
            <a:endParaRPr lang="ru-RU" sz="2300" b="1" dirty="0">
              <a:solidFill>
                <a:schemeClr val="bg2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3908726-8450-49BF-973A-3C20890E4DA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2200" y="6620603"/>
            <a:ext cx="457200" cy="153888"/>
          </a:xfrm>
        </p:spPr>
        <p:txBody>
          <a:bodyPr/>
          <a:lstStyle/>
          <a:p>
            <a:fld id="{B6AA8A74-8566-41AB-BE36-77E5736D8C67}" type="slidenum">
              <a:rPr lang="ru-RU" dirty="0" smtClean="0"/>
              <a:pPr/>
              <a:t>9</a:t>
            </a:fld>
            <a:endParaRPr 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ADBCA6F-4ABF-AFF6-EEF7-AFA4D66FE20C}"/>
              </a:ext>
            </a:extLst>
          </p:cNvPr>
          <p:cNvGrpSpPr/>
          <p:nvPr/>
        </p:nvGrpSpPr>
        <p:grpSpPr>
          <a:xfrm>
            <a:off x="1092200" y="1465159"/>
            <a:ext cx="4216671" cy="4375250"/>
            <a:chOff x="1092200" y="1969984"/>
            <a:chExt cx="4216671" cy="4375250"/>
          </a:xfrm>
        </p:grpSpPr>
        <p:sp>
          <p:nvSpPr>
            <p:cNvPr id="70" name="Rounded Rectangle 76">
              <a:extLst>
                <a:ext uri="{FF2B5EF4-FFF2-40B4-BE49-F238E27FC236}">
                  <a16:creationId xmlns:a16="http://schemas.microsoft.com/office/drawing/2014/main" id="{981372CE-F79A-4B74-B1CA-70CC4F7F4BA1}"/>
                </a:ext>
              </a:extLst>
            </p:cNvPr>
            <p:cNvSpPr/>
            <p:nvPr/>
          </p:nvSpPr>
          <p:spPr>
            <a:xfrm>
              <a:off x="1092200" y="1969984"/>
              <a:ext cx="4216671" cy="4375250"/>
            </a:xfrm>
            <a:prstGeom prst="roundRect">
              <a:avLst>
                <a:gd name="adj" fmla="val 906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0" tIns="72000" rIns="72000" bIns="71442" rtlCol="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3600"/>
                </a:spcAft>
              </a:pPr>
              <a:r>
                <a:rPr lang="ru-RU" sz="1200" b="1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 </a:t>
              </a:r>
            </a:p>
          </p:txBody>
        </p:sp>
        <p:pic>
          <p:nvPicPr>
            <p:cNvPr id="80" name="Рисунок 82">
              <a:extLst>
                <a:ext uri="{FF2B5EF4-FFF2-40B4-BE49-F238E27FC236}">
                  <a16:creationId xmlns:a16="http://schemas.microsoft.com/office/drawing/2014/main" id="{43EB492C-EB63-4B89-8BCE-E900DDBB63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-2513" t="-2515" r="16543" b="25352"/>
            <a:stretch/>
          </p:blipFill>
          <p:spPr>
            <a:xfrm>
              <a:off x="3374747" y="4223558"/>
              <a:ext cx="1934124" cy="2121675"/>
            </a:xfrm>
            <a:prstGeom prst="rect">
              <a:avLst/>
            </a:prstGeom>
          </p:spPr>
        </p:pic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747272FA-8054-48E0-A5CA-E837FA66822D}"/>
                </a:ext>
              </a:extLst>
            </p:cNvPr>
            <p:cNvCxnSpPr>
              <a:cxnSpLocks/>
            </p:cNvCxnSpPr>
            <p:nvPr/>
          </p:nvCxnSpPr>
          <p:spPr>
            <a:xfrm>
              <a:off x="1096839" y="3076435"/>
              <a:ext cx="4208586" cy="0"/>
            </a:xfrm>
            <a:prstGeom prst="line">
              <a:avLst/>
            </a:prstGeom>
            <a:ln w="63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9A96E98A-7511-4C94-A858-169AA5D51985}"/>
                </a:ext>
              </a:extLst>
            </p:cNvPr>
            <p:cNvCxnSpPr>
              <a:cxnSpLocks/>
            </p:cNvCxnSpPr>
            <p:nvPr/>
          </p:nvCxnSpPr>
          <p:spPr>
            <a:xfrm>
              <a:off x="1096839" y="3893634"/>
              <a:ext cx="4208586" cy="0"/>
            </a:xfrm>
            <a:prstGeom prst="line">
              <a:avLst/>
            </a:prstGeom>
            <a:ln w="63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D8B50084-E6ED-408A-AF2D-287B31BC6880}"/>
                </a:ext>
              </a:extLst>
            </p:cNvPr>
            <p:cNvCxnSpPr>
              <a:cxnSpLocks/>
            </p:cNvCxnSpPr>
            <p:nvPr/>
          </p:nvCxnSpPr>
          <p:spPr>
            <a:xfrm>
              <a:off x="1096839" y="4710833"/>
              <a:ext cx="4208586" cy="0"/>
            </a:xfrm>
            <a:prstGeom prst="line">
              <a:avLst/>
            </a:prstGeom>
            <a:ln w="63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D29C6C7F-11F8-4FC7-BC02-FA14846D054B}"/>
                </a:ext>
              </a:extLst>
            </p:cNvPr>
            <p:cNvCxnSpPr>
              <a:cxnSpLocks/>
            </p:cNvCxnSpPr>
            <p:nvPr/>
          </p:nvCxnSpPr>
          <p:spPr>
            <a:xfrm>
              <a:off x="1096839" y="5528032"/>
              <a:ext cx="4208586" cy="0"/>
            </a:xfrm>
            <a:prstGeom prst="line">
              <a:avLst/>
            </a:prstGeom>
            <a:ln w="6350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298BDBDA-C361-4D60-8555-9CE2C28626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84172" y="4145141"/>
              <a:ext cx="329036" cy="329036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734C4BA-C967-4318-BBBE-88AFCF06B3E2}"/>
                </a:ext>
              </a:extLst>
            </p:cNvPr>
            <p:cNvSpPr txBox="1"/>
            <p:nvPr/>
          </p:nvSpPr>
          <p:spPr>
            <a:xfrm>
              <a:off x="1803851" y="4115760"/>
              <a:ext cx="3312160" cy="3323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>
              <a:defPPr>
                <a:defRPr lang="ru-RU"/>
              </a:defPPr>
              <a:lvl1pPr lvl="0" algn="ctr">
                <a:lnSpc>
                  <a:spcPct val="90000"/>
                </a:lnSpc>
                <a:spcAft>
                  <a:spcPts val="600"/>
                </a:spcAft>
                <a:buClr>
                  <a:schemeClr val="accent1"/>
                </a:buClr>
                <a:defRPr sz="1200">
                  <a:solidFill>
                    <a:schemeClr val="bg2"/>
                  </a:solidFill>
                  <a:latin typeface="+mj-lt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ru-RU" dirty="0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Работа в международных компаниях, в том числе  за рубежом</a:t>
              </a:r>
            </a:p>
          </p:txBody>
        </p:sp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DEF611BA-9D51-4FAA-968A-2AA97DB7B0D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84172" y="2296837"/>
              <a:ext cx="329036" cy="332326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F070F83-3C69-4B3A-8AD0-E04213416F61}"/>
                </a:ext>
              </a:extLst>
            </p:cNvPr>
            <p:cNvSpPr txBox="1"/>
            <p:nvPr/>
          </p:nvSpPr>
          <p:spPr>
            <a:xfrm>
              <a:off x="1803850" y="2269101"/>
              <a:ext cx="2860563" cy="66479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>
              <a:defPPr>
                <a:defRPr lang="ru-RU"/>
              </a:defPPr>
              <a:lvl1pPr lvl="0" algn="ctr">
                <a:lnSpc>
                  <a:spcPct val="90000"/>
                </a:lnSpc>
                <a:spcAft>
                  <a:spcPts val="600"/>
                </a:spcAft>
                <a:buClr>
                  <a:schemeClr val="accent1"/>
                </a:buClr>
                <a:defRPr sz="1200">
                  <a:solidFill>
                    <a:schemeClr val="bg2"/>
                  </a:solidFill>
                  <a:latin typeface="+mj-lt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ru-RU" kern="0" dirty="0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Управленческая деятельность, ориентированная как на глобальную международную среду, так и региональную специфику</a:t>
              </a:r>
              <a:endParaRPr lang="ru-RU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pic>
          <p:nvPicPr>
            <p:cNvPr id="49" name="Graphic 48" descr="Флаг контур">
              <a:extLst>
                <a:ext uri="{FF2B5EF4-FFF2-40B4-BE49-F238E27FC236}">
                  <a16:creationId xmlns:a16="http://schemas.microsoft.com/office/drawing/2014/main" id="{CBE3AF14-C984-4DD7-AAE5-CB93EFECB5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1285818" y="3336606"/>
              <a:ext cx="325745" cy="325745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C2CAF31-F47C-4E9F-8296-DF67D540D425}"/>
                </a:ext>
              </a:extLst>
            </p:cNvPr>
            <p:cNvSpPr txBox="1"/>
            <p:nvPr/>
          </p:nvSpPr>
          <p:spPr>
            <a:xfrm>
              <a:off x="1803850" y="3305579"/>
              <a:ext cx="3074538" cy="3323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>
              <a:defPPr>
                <a:defRPr lang="ru-RU"/>
              </a:defPPr>
              <a:lvl1pPr lvl="0" algn="ctr">
                <a:lnSpc>
                  <a:spcPct val="90000"/>
                </a:lnSpc>
                <a:spcAft>
                  <a:spcPts val="600"/>
                </a:spcAft>
                <a:buClr>
                  <a:schemeClr val="accent1"/>
                </a:buClr>
                <a:defRPr sz="1200">
                  <a:solidFill>
                    <a:schemeClr val="bg2"/>
                  </a:solidFill>
                  <a:latin typeface="+mj-lt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ru-RU" dirty="0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Особенности ведения бизнеса в разных странах</a:t>
              </a:r>
            </a:p>
          </p:txBody>
        </p:sp>
        <p:pic>
          <p:nvPicPr>
            <p:cNvPr id="51" name="Graphic 50" descr="Дорожная развилка контур">
              <a:extLst>
                <a:ext uri="{FF2B5EF4-FFF2-40B4-BE49-F238E27FC236}">
                  <a16:creationId xmlns:a16="http://schemas.microsoft.com/office/drawing/2014/main" id="{1ACDF2D8-F243-4B68-A4E3-2A9742C73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1282527" y="4949760"/>
              <a:ext cx="332326" cy="332326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F419206-6527-441F-B69B-B5C46A4A034F}"/>
                </a:ext>
              </a:extLst>
            </p:cNvPr>
            <p:cNvSpPr txBox="1"/>
            <p:nvPr/>
          </p:nvSpPr>
          <p:spPr>
            <a:xfrm>
              <a:off x="1803850" y="4922024"/>
              <a:ext cx="3422250" cy="49859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>
              <a:defPPr>
                <a:defRPr lang="ru-RU"/>
              </a:defPPr>
              <a:lvl1pPr lvl="0" algn="ctr">
                <a:lnSpc>
                  <a:spcPct val="90000"/>
                </a:lnSpc>
                <a:spcAft>
                  <a:spcPts val="600"/>
                </a:spcAft>
                <a:buClr>
                  <a:schemeClr val="accent1"/>
                </a:buClr>
                <a:defRPr sz="1200">
                  <a:solidFill>
                    <a:schemeClr val="bg2"/>
                  </a:solidFill>
                  <a:latin typeface="+mj-lt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ru-RU" dirty="0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Возможность открыть свое дело или продолжить обучение в России или за рубежом</a:t>
              </a:r>
            </a:p>
          </p:txBody>
        </p:sp>
        <p:pic>
          <p:nvPicPr>
            <p:cNvPr id="58" name="Graphic 57" descr="Речь контур">
              <a:extLst>
                <a:ext uri="{FF2B5EF4-FFF2-40B4-BE49-F238E27FC236}">
                  <a16:creationId xmlns:a16="http://schemas.microsoft.com/office/drawing/2014/main" id="{D8EE71AC-39E2-49C4-8CFD-905E9DA5BD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1284172" y="5772115"/>
              <a:ext cx="329036" cy="329036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5C26C0F-46F2-4EF0-80A8-39EBE30CA34C}"/>
                </a:ext>
              </a:extLst>
            </p:cNvPr>
            <p:cNvSpPr txBox="1"/>
            <p:nvPr/>
          </p:nvSpPr>
          <p:spPr>
            <a:xfrm>
              <a:off x="1803850" y="5742734"/>
              <a:ext cx="2749766" cy="33239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>
              <a:defPPr>
                <a:defRPr lang="ru-RU"/>
              </a:defPPr>
              <a:lvl1pPr lvl="0" algn="ctr">
                <a:lnSpc>
                  <a:spcPct val="90000"/>
                </a:lnSpc>
                <a:spcAft>
                  <a:spcPts val="600"/>
                </a:spcAft>
                <a:buClr>
                  <a:schemeClr val="accent1"/>
                </a:buClr>
                <a:defRPr sz="1200">
                  <a:solidFill>
                    <a:schemeClr val="bg2"/>
                  </a:solidFill>
                  <a:latin typeface="+mj-lt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ru-RU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Обучение на английском языке и мультикультурная среда обучения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3711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Бакалавриат">
  <a:themeElements>
    <a:clrScheme name="Custom 89">
      <a:dk1>
        <a:srgbClr val="410B10"/>
      </a:dk1>
      <a:lt1>
        <a:sysClr val="window" lastClr="FFFFFF"/>
      </a:lt1>
      <a:dk2>
        <a:srgbClr val="90A1AE"/>
      </a:dk2>
      <a:lt2>
        <a:srgbClr val="51626F"/>
      </a:lt2>
      <a:accent1>
        <a:srgbClr val="BE1E2D"/>
      </a:accent1>
      <a:accent2>
        <a:srgbClr val="410B10"/>
      </a:accent2>
      <a:accent3>
        <a:srgbClr val="881621"/>
      </a:accent3>
      <a:accent4>
        <a:srgbClr val="647989"/>
      </a:accent4>
      <a:accent5>
        <a:srgbClr val="E76B77"/>
      </a:accent5>
      <a:accent6>
        <a:srgbClr val="70A501"/>
      </a:accent6>
      <a:hlink>
        <a:srgbClr val="BE1E2D"/>
      </a:hlink>
      <a:folHlink>
        <a:srgbClr val="881621"/>
      </a:folHlink>
    </a:clrScheme>
    <a:fontScheme name="Другая 118">
      <a:majorFont>
        <a:latin typeface="Euclid Circular B SemiBold"/>
        <a:ea typeface=""/>
        <a:cs typeface=""/>
      </a:majorFont>
      <a:minorFont>
        <a:latin typeface="Euclid Circular B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C00000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a:spPr>
      <a:bodyPr/>
      <a:lstStyle/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 algn="l">
          <a:spcAft>
            <a:spcPts val="300"/>
          </a:spcAft>
          <a:buClr>
            <a:schemeClr val="accent1"/>
          </a:buClr>
          <a:defRPr sz="1100" dirty="0">
            <a:solidFill>
              <a:schemeClr val="bg2"/>
            </a:solidFill>
            <a:latin typeface="Euclid Circular A" panose="020B0504000000000000" pitchFamily="34" charset="-52"/>
            <a:ea typeface="Euclid Circular A" panose="020B0504000000000000" pitchFamily="34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Аспирантура">
  <a:themeElements>
    <a:clrScheme name="Custom 90">
      <a:dk1>
        <a:srgbClr val="410B10"/>
      </a:dk1>
      <a:lt1>
        <a:sysClr val="window" lastClr="FFFFFF"/>
      </a:lt1>
      <a:dk2>
        <a:srgbClr val="90A1AE"/>
      </a:dk2>
      <a:lt2>
        <a:srgbClr val="51626F"/>
      </a:lt2>
      <a:accent1>
        <a:srgbClr val="BE1E2D"/>
      </a:accent1>
      <a:accent2>
        <a:srgbClr val="410B10"/>
      </a:accent2>
      <a:accent3>
        <a:srgbClr val="881621"/>
      </a:accent3>
      <a:accent4>
        <a:srgbClr val="647989"/>
      </a:accent4>
      <a:accent5>
        <a:srgbClr val="E76B77"/>
      </a:accent5>
      <a:accent6>
        <a:srgbClr val="993EA6"/>
      </a:accent6>
      <a:hlink>
        <a:srgbClr val="BE1E2D"/>
      </a:hlink>
      <a:folHlink>
        <a:srgbClr val="881621"/>
      </a:folHlink>
    </a:clrScheme>
    <a:fontScheme name="Другая 119">
      <a:majorFont>
        <a:latin typeface="Euclid Circular B SemiBold"/>
        <a:ea typeface=""/>
        <a:cs typeface=""/>
      </a:majorFont>
      <a:minorFont>
        <a:latin typeface="Euclid Circular B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 algn="l">
          <a:spcAft>
            <a:spcPts val="300"/>
          </a:spcAft>
          <a:buClr>
            <a:schemeClr val="accent1"/>
          </a:buClr>
          <a:defRPr sz="1100" dirty="0">
            <a:solidFill>
              <a:schemeClr val="bg2"/>
            </a:solidFill>
            <a:latin typeface="Euclid Circular A" panose="020B0504000000000000" pitchFamily="34" charset="-52"/>
            <a:ea typeface="Euclid Circular A" panose="020B0504000000000000" pitchFamily="34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Executive MBA">
  <a:themeElements>
    <a:clrScheme name="Custom 91">
      <a:dk1>
        <a:srgbClr val="410B10"/>
      </a:dk1>
      <a:lt1>
        <a:sysClr val="window" lastClr="FFFFFF"/>
      </a:lt1>
      <a:dk2>
        <a:srgbClr val="90A1AE"/>
      </a:dk2>
      <a:lt2>
        <a:srgbClr val="51626F"/>
      </a:lt2>
      <a:accent1>
        <a:srgbClr val="BE1E2D"/>
      </a:accent1>
      <a:accent2>
        <a:srgbClr val="410B10"/>
      </a:accent2>
      <a:accent3>
        <a:srgbClr val="881621"/>
      </a:accent3>
      <a:accent4>
        <a:srgbClr val="647989"/>
      </a:accent4>
      <a:accent5>
        <a:srgbClr val="E76B77"/>
      </a:accent5>
      <a:accent6>
        <a:srgbClr val="3C64CE"/>
      </a:accent6>
      <a:hlink>
        <a:srgbClr val="BE1E2D"/>
      </a:hlink>
      <a:folHlink>
        <a:srgbClr val="881621"/>
      </a:folHlink>
    </a:clrScheme>
    <a:fontScheme name="Другая 120">
      <a:majorFont>
        <a:latin typeface="Euclid Circular B SemiBold"/>
        <a:ea typeface=""/>
        <a:cs typeface=""/>
      </a:majorFont>
      <a:minorFont>
        <a:latin typeface="Euclid Circular B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 algn="l">
          <a:spcAft>
            <a:spcPts val="300"/>
          </a:spcAft>
          <a:buClr>
            <a:schemeClr val="accent1"/>
          </a:buClr>
          <a:defRPr sz="1100" dirty="0">
            <a:solidFill>
              <a:schemeClr val="bg2"/>
            </a:solidFill>
            <a:latin typeface="Euclid Circular A" panose="020B0504000000000000" pitchFamily="34" charset="-52"/>
            <a:ea typeface="Euclid Circular A" panose="020B0504000000000000" pitchFamily="34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Корпоративные программы">
  <a:themeElements>
    <a:clrScheme name="Custom 92">
      <a:dk1>
        <a:srgbClr val="410B10"/>
      </a:dk1>
      <a:lt1>
        <a:sysClr val="window" lastClr="FFFFFF"/>
      </a:lt1>
      <a:dk2>
        <a:srgbClr val="90A1AE"/>
      </a:dk2>
      <a:lt2>
        <a:srgbClr val="51626F"/>
      </a:lt2>
      <a:accent1>
        <a:srgbClr val="BE1E2D"/>
      </a:accent1>
      <a:accent2>
        <a:srgbClr val="410B10"/>
      </a:accent2>
      <a:accent3>
        <a:srgbClr val="881621"/>
      </a:accent3>
      <a:accent4>
        <a:srgbClr val="647989"/>
      </a:accent4>
      <a:accent5>
        <a:srgbClr val="E76B77"/>
      </a:accent5>
      <a:accent6>
        <a:srgbClr val="0A8796"/>
      </a:accent6>
      <a:hlink>
        <a:srgbClr val="BE1E2D"/>
      </a:hlink>
      <a:folHlink>
        <a:srgbClr val="881621"/>
      </a:folHlink>
    </a:clrScheme>
    <a:fontScheme name="Другая 121">
      <a:majorFont>
        <a:latin typeface="Euclid Circular B SemiBold"/>
        <a:ea typeface=""/>
        <a:cs typeface=""/>
      </a:majorFont>
      <a:minorFont>
        <a:latin typeface="Euclid Circular B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 algn="l">
          <a:spcAft>
            <a:spcPts val="300"/>
          </a:spcAft>
          <a:buClr>
            <a:schemeClr val="accent1"/>
          </a:buClr>
          <a:defRPr sz="1100" dirty="0">
            <a:solidFill>
              <a:schemeClr val="bg2"/>
            </a:solidFill>
            <a:latin typeface="Euclid Circular A" panose="020B0504000000000000" pitchFamily="34" charset="-52"/>
            <a:ea typeface="Euclid Circular A" panose="020B0504000000000000" pitchFamily="34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English version">
  <a:themeElements>
    <a:clrScheme name="Custom 93">
      <a:dk1>
        <a:srgbClr val="410B10"/>
      </a:dk1>
      <a:lt1>
        <a:sysClr val="window" lastClr="FFFFFF"/>
      </a:lt1>
      <a:dk2>
        <a:srgbClr val="90A1AE"/>
      </a:dk2>
      <a:lt2>
        <a:srgbClr val="51626F"/>
      </a:lt2>
      <a:accent1>
        <a:srgbClr val="BE1E2D"/>
      </a:accent1>
      <a:accent2>
        <a:srgbClr val="410B10"/>
      </a:accent2>
      <a:accent3>
        <a:srgbClr val="881621"/>
      </a:accent3>
      <a:accent4>
        <a:srgbClr val="647989"/>
      </a:accent4>
      <a:accent5>
        <a:srgbClr val="E76B77"/>
      </a:accent5>
      <a:accent6>
        <a:srgbClr val="BE1E2D"/>
      </a:accent6>
      <a:hlink>
        <a:srgbClr val="BE1E2D"/>
      </a:hlink>
      <a:folHlink>
        <a:srgbClr val="881621"/>
      </a:folHlink>
    </a:clrScheme>
    <a:fontScheme name="Другая 122">
      <a:majorFont>
        <a:latin typeface="Euclid Circular B SemiBold"/>
        <a:ea typeface=""/>
        <a:cs typeface=""/>
      </a:majorFont>
      <a:minorFont>
        <a:latin typeface="Euclid Circular B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 algn="l">
          <a:spcAft>
            <a:spcPts val="300"/>
          </a:spcAft>
          <a:buClr>
            <a:schemeClr val="accent1"/>
          </a:buClr>
          <a:defRPr sz="1100" dirty="0">
            <a:solidFill>
              <a:schemeClr val="bg2"/>
            </a:solidFill>
            <a:latin typeface="Euclid Circular A" panose="020B0504000000000000" pitchFamily="34" charset="-52"/>
            <a:ea typeface="Euclid Circular A" panose="020B0504000000000000" pitchFamily="34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Бакалавриат">
  <a:themeElements>
    <a:clrScheme name="Custom 89">
      <a:dk1>
        <a:srgbClr val="410B10"/>
      </a:dk1>
      <a:lt1>
        <a:sysClr val="window" lastClr="FFFFFF"/>
      </a:lt1>
      <a:dk2>
        <a:srgbClr val="90A1AE"/>
      </a:dk2>
      <a:lt2>
        <a:srgbClr val="51626F"/>
      </a:lt2>
      <a:accent1>
        <a:srgbClr val="BE1E2D"/>
      </a:accent1>
      <a:accent2>
        <a:srgbClr val="410B10"/>
      </a:accent2>
      <a:accent3>
        <a:srgbClr val="881621"/>
      </a:accent3>
      <a:accent4>
        <a:srgbClr val="647989"/>
      </a:accent4>
      <a:accent5>
        <a:srgbClr val="E76B77"/>
      </a:accent5>
      <a:accent6>
        <a:srgbClr val="70A501"/>
      </a:accent6>
      <a:hlink>
        <a:srgbClr val="BE1E2D"/>
      </a:hlink>
      <a:folHlink>
        <a:srgbClr val="881621"/>
      </a:folHlink>
    </a:clrScheme>
    <a:fontScheme name="Custom 18">
      <a:majorFont>
        <a:latin typeface="Euclid Circular A SemiBold"/>
        <a:ea typeface=""/>
        <a:cs typeface=""/>
      </a:majorFont>
      <a:minorFont>
        <a:latin typeface="Euclid Circular 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 algn="l">
          <a:spcAft>
            <a:spcPts val="300"/>
          </a:spcAft>
          <a:buClr>
            <a:schemeClr val="accent1"/>
          </a:buClr>
          <a:defRPr sz="1100" dirty="0">
            <a:solidFill>
              <a:schemeClr val="bg2"/>
            </a:solidFill>
            <a:latin typeface="Euclid Circular A" panose="020B0504000000000000" pitchFamily="34" charset="-52"/>
            <a:ea typeface="Euclid Circular A" panose="020B0504000000000000" pitchFamily="34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6</TotalTime>
  <Words>611</Words>
  <Application>Microsoft Office PowerPoint</Application>
  <PresentationFormat>Широкоэкранный</PresentationFormat>
  <Paragraphs>155</Paragraphs>
  <Slides>10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0</vt:i4>
      </vt:variant>
    </vt:vector>
  </HeadingPairs>
  <TitlesOfParts>
    <vt:vector size="28" baseType="lpstr">
      <vt:lpstr>Arial</vt:lpstr>
      <vt:lpstr>Calibri</vt:lpstr>
      <vt:lpstr>Euclid Circular A</vt:lpstr>
      <vt:lpstr>Euclid Circular A Light</vt:lpstr>
      <vt:lpstr>Euclid Circular A SemiBold</vt:lpstr>
      <vt:lpstr>Euclid Circular B</vt:lpstr>
      <vt:lpstr>Euclid Circular B Light</vt:lpstr>
      <vt:lpstr>Euclid Circular B SemiBold</vt:lpstr>
      <vt:lpstr>Inter</vt:lpstr>
      <vt:lpstr>Montserrat SemiBold</vt:lpstr>
      <vt:lpstr>Бакалавриат</vt:lpstr>
      <vt:lpstr>Аспирантура</vt:lpstr>
      <vt:lpstr>Executive MBA</vt:lpstr>
      <vt:lpstr>Корпоративные программы</vt:lpstr>
      <vt:lpstr>English version</vt:lpstr>
      <vt:lpstr>1_Бакалавриат</vt:lpstr>
      <vt:lpstr>Слайд think-cell</vt:lpstr>
      <vt:lpstr>think-cell Slide</vt:lpstr>
      <vt:lpstr>Программа Бакалавриата «Международный менеджмент»</vt:lpstr>
      <vt:lpstr>Что такое  международный менеджмент?</vt:lpstr>
      <vt:lpstr>Погружение в специальность  и персональная траектория обучения</vt:lpstr>
      <vt:lpstr>Обязательные дисциплины</vt:lpstr>
      <vt:lpstr>Презентация PowerPoint</vt:lpstr>
      <vt:lpstr>Специальный трек по финансам международные стандарты  финансовой отчетности</vt:lpstr>
      <vt:lpstr>Преимущества ВШМ СПбГУ – это практика, иностранные языки и уникальные  образовательные возможности</vt:lpstr>
      <vt:lpstr>Выпускники Программы работают в ведущих компаниях страны и мира, успешно запускают собственный бизнес</vt:lpstr>
      <vt:lpstr>Программа «международный менеджмент»  подойдет для тех, кого интересует: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дрей Жандров</dc:creator>
  <cp:lastModifiedBy>Iuliana</cp:lastModifiedBy>
  <cp:revision>98</cp:revision>
  <dcterms:created xsi:type="dcterms:W3CDTF">2019-08-08T16:07:44Z</dcterms:created>
  <dcterms:modified xsi:type="dcterms:W3CDTF">2024-02-08T13:06:16Z</dcterms:modified>
</cp:coreProperties>
</file>